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05" r:id="rId3"/>
    <p:sldMasterId id="2147483731" r:id="rId4"/>
    <p:sldMasterId id="2147483804" r:id="rId5"/>
    <p:sldMasterId id="2147483830" r:id="rId6"/>
    <p:sldMasterId id="2147484041" r:id="rId7"/>
    <p:sldMasterId id="2147484211" r:id="rId8"/>
    <p:sldMasterId id="2147484433" r:id="rId9"/>
  </p:sldMasterIdLst>
  <p:notesMasterIdLst>
    <p:notesMasterId r:id="rId19"/>
  </p:notesMasterIdLst>
  <p:sldIdLst>
    <p:sldId id="2690" r:id="rId10"/>
    <p:sldId id="3077" r:id="rId11"/>
    <p:sldId id="3087" r:id="rId12"/>
    <p:sldId id="3071" r:id="rId13"/>
    <p:sldId id="3074" r:id="rId14"/>
    <p:sldId id="3084" r:id="rId15"/>
    <p:sldId id="3083" r:id="rId16"/>
    <p:sldId id="3086" r:id="rId17"/>
    <p:sldId id="3085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_tuxuewen" initials="v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A50"/>
    <a:srgbClr val="FF6866"/>
    <a:srgbClr val="5880B8"/>
    <a:srgbClr val="4CACC6"/>
    <a:srgbClr val="FFE067"/>
    <a:srgbClr val="3A5C89"/>
    <a:srgbClr val="FFECEC"/>
    <a:srgbClr val="E5F2FF"/>
    <a:srgbClr val="9F503C"/>
    <a:srgbClr val="2E8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主题样式 1 - 个性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中度样式 1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8" autoAdjust="0"/>
    <p:restoredTop sz="94223" autoAdjust="0"/>
  </p:normalViewPr>
  <p:slideViewPr>
    <p:cSldViewPr snapToGrid="0">
      <p:cViewPr varScale="1">
        <p:scale>
          <a:sx n="127" d="100"/>
          <a:sy n="127" d="100"/>
        </p:scale>
        <p:origin x="1512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baidu/Downloads/PhpVsG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altLang="zh-CN" sz="1400" b="1">
                <a:latin typeface="黑体"/>
                <a:ea typeface="黑体"/>
                <a:cs typeface="黑体"/>
              </a:rPr>
              <a:t>QPS-CPU</a:t>
            </a:r>
            <a:r>
              <a:rPr lang="zh-CN" altLang="en-US" sz="1400" b="1">
                <a:latin typeface="黑体"/>
                <a:ea typeface="黑体"/>
                <a:cs typeface="黑体"/>
              </a:rPr>
              <a:t>变化曲线</a:t>
            </a:r>
            <a:endParaRPr lang="en-US" altLang="zh-CN" sz="1400" b="1">
              <a:latin typeface="黑体"/>
              <a:ea typeface="黑体"/>
              <a:cs typeface="黑体"/>
            </a:endParaRP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go-cpu</c:v>
          </c:tx>
          <c:cat>
            <c:numRef>
              <c:f>工作表1!$A$14:$A$24</c:f>
              <c:numCache>
                <c:formatCode>General</c:formatCode>
                <c:ptCount val="11"/>
                <c:pt idx="0">
                  <c:v>100</c:v>
                </c:pt>
                <c:pt idx="1">
                  <c:v>200</c:v>
                </c:pt>
                <c:pt idx="2">
                  <c:v>300</c:v>
                </c:pt>
                <c:pt idx="3">
                  <c:v>400</c:v>
                </c:pt>
                <c:pt idx="4">
                  <c:v>500</c:v>
                </c:pt>
                <c:pt idx="5">
                  <c:v>600</c:v>
                </c:pt>
                <c:pt idx="6">
                  <c:v>700</c:v>
                </c:pt>
                <c:pt idx="7">
                  <c:v>800</c:v>
                </c:pt>
                <c:pt idx="8">
                  <c:v>900</c:v>
                </c:pt>
                <c:pt idx="9">
                  <c:v>1000</c:v>
                </c:pt>
                <c:pt idx="10">
                  <c:v>1100</c:v>
                </c:pt>
              </c:numCache>
            </c:numRef>
          </c:cat>
          <c:val>
            <c:numRef>
              <c:f>工作表1!$B$14:$B$24</c:f>
              <c:numCache>
                <c:formatCode>General</c:formatCode>
                <c:ptCount val="11"/>
                <c:pt idx="0">
                  <c:v>3.8330000000000002</c:v>
                </c:pt>
                <c:pt idx="1">
                  <c:v>7.0670000000000002</c:v>
                </c:pt>
                <c:pt idx="2">
                  <c:v>11</c:v>
                </c:pt>
                <c:pt idx="3">
                  <c:v>15.167</c:v>
                </c:pt>
                <c:pt idx="4">
                  <c:v>18.875</c:v>
                </c:pt>
                <c:pt idx="5">
                  <c:v>22.856999999999999</c:v>
                </c:pt>
                <c:pt idx="6">
                  <c:v>27.733000000000001</c:v>
                </c:pt>
                <c:pt idx="7">
                  <c:v>31.273</c:v>
                </c:pt>
                <c:pt idx="8">
                  <c:v>35.5</c:v>
                </c:pt>
                <c:pt idx="9">
                  <c:v>38.75</c:v>
                </c:pt>
                <c:pt idx="10">
                  <c:v>42.667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661-A646-8B2F-8FF9D2CC39C4}"/>
            </c:ext>
          </c:extLst>
        </c:ser>
        <c:ser>
          <c:idx val="1"/>
          <c:order val="1"/>
          <c:tx>
            <c:v>php-cpu</c:v>
          </c:tx>
          <c:cat>
            <c:numRef>
              <c:f>工作表1!$A$14:$A$24</c:f>
              <c:numCache>
                <c:formatCode>General</c:formatCode>
                <c:ptCount val="11"/>
                <c:pt idx="0">
                  <c:v>100</c:v>
                </c:pt>
                <c:pt idx="1">
                  <c:v>200</c:v>
                </c:pt>
                <c:pt idx="2">
                  <c:v>300</c:v>
                </c:pt>
                <c:pt idx="3">
                  <c:v>400</c:v>
                </c:pt>
                <c:pt idx="4">
                  <c:v>500</c:v>
                </c:pt>
                <c:pt idx="5">
                  <c:v>600</c:v>
                </c:pt>
                <c:pt idx="6">
                  <c:v>700</c:v>
                </c:pt>
                <c:pt idx="7">
                  <c:v>800</c:v>
                </c:pt>
                <c:pt idx="8">
                  <c:v>900</c:v>
                </c:pt>
                <c:pt idx="9">
                  <c:v>1000</c:v>
                </c:pt>
                <c:pt idx="10">
                  <c:v>1100</c:v>
                </c:pt>
              </c:numCache>
            </c:numRef>
          </c:cat>
          <c:val>
            <c:numRef>
              <c:f>工作表1!$E$14:$E$24</c:f>
              <c:numCache>
                <c:formatCode>General</c:formatCode>
                <c:ptCount val="11"/>
                <c:pt idx="0">
                  <c:v>18.332999999999998</c:v>
                </c:pt>
                <c:pt idx="1">
                  <c:v>35.375</c:v>
                </c:pt>
                <c:pt idx="2">
                  <c:v>49.856999999999999</c:v>
                </c:pt>
                <c:pt idx="3">
                  <c:v>67.667000000000002</c:v>
                </c:pt>
                <c:pt idx="4">
                  <c:v>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661-A646-8B2F-8FF9D2CC39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6596520"/>
        <c:axId val="2116647688"/>
      </c:lineChart>
      <c:catAx>
        <c:axId val="211659652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altLang="zh-CN"/>
                  <a:t>QPS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2116647688"/>
        <c:crosses val="autoZero"/>
        <c:auto val="1"/>
        <c:lblAlgn val="ctr"/>
        <c:lblOffset val="100"/>
        <c:noMultiLvlLbl val="0"/>
      </c:catAx>
      <c:valAx>
        <c:axId val="211664768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/>
                  <a:t>CPU_USED.MATRIX 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2116596520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509C9B-838A-E64F-8B9D-03A9D5D6150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zh-CN" altLang="en-US"/>
        </a:p>
      </dgm:t>
    </dgm:pt>
    <dgm:pt modelId="{D08716CE-421A-8F4A-A3CE-2A585DD21BE2}">
      <dgm:prSet/>
      <dgm:spPr/>
      <dgm:t>
        <a:bodyPr/>
        <a:lstStyle/>
        <a:p>
          <a:r>
            <a:rPr kumimoji="1" lang="en-US" dirty="0"/>
            <a:t>Go</a:t>
          </a:r>
          <a:r>
            <a:rPr kumimoji="1" lang="zh-CN" dirty="0"/>
            <a:t>服务预期能够节省</a:t>
          </a:r>
          <a:r>
            <a:rPr kumimoji="1" lang="en-US" dirty="0"/>
            <a:t>60%</a:t>
          </a:r>
          <a:r>
            <a:rPr kumimoji="1" lang="zh-CN" dirty="0"/>
            <a:t>机器资源，有效降低服务运维成本</a:t>
          </a:r>
          <a:endParaRPr lang="zh-CN" dirty="0"/>
        </a:p>
      </dgm:t>
    </dgm:pt>
    <dgm:pt modelId="{52A02377-5ED1-2D4E-BC57-9AC9C7637A6F}" type="parTrans" cxnId="{DB19CF12-A580-B74B-B8E9-306274B376B8}">
      <dgm:prSet/>
      <dgm:spPr/>
      <dgm:t>
        <a:bodyPr/>
        <a:lstStyle/>
        <a:p>
          <a:endParaRPr lang="zh-CN" altLang="en-US"/>
        </a:p>
      </dgm:t>
    </dgm:pt>
    <dgm:pt modelId="{AED877F1-1710-4040-B31C-37FB3F59E80E}" type="sibTrans" cxnId="{DB19CF12-A580-B74B-B8E9-306274B376B8}">
      <dgm:prSet/>
      <dgm:spPr/>
      <dgm:t>
        <a:bodyPr/>
        <a:lstStyle/>
        <a:p>
          <a:endParaRPr lang="zh-CN" altLang="en-US"/>
        </a:p>
      </dgm:t>
    </dgm:pt>
    <dgm:pt modelId="{AEE1901D-54CF-6742-8C1C-0B3F7E38617D}" type="pres">
      <dgm:prSet presAssocID="{9A509C9B-838A-E64F-8B9D-03A9D5D61503}" presName="linear" presStyleCnt="0">
        <dgm:presLayoutVars>
          <dgm:animLvl val="lvl"/>
          <dgm:resizeHandles val="exact"/>
        </dgm:presLayoutVars>
      </dgm:prSet>
      <dgm:spPr/>
    </dgm:pt>
    <dgm:pt modelId="{D2DEA70E-436F-4D40-B78D-E74745BC6C17}" type="pres">
      <dgm:prSet presAssocID="{D08716CE-421A-8F4A-A3CE-2A585DD21BE2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DB19CF12-A580-B74B-B8E9-306274B376B8}" srcId="{9A509C9B-838A-E64F-8B9D-03A9D5D61503}" destId="{D08716CE-421A-8F4A-A3CE-2A585DD21BE2}" srcOrd="0" destOrd="0" parTransId="{52A02377-5ED1-2D4E-BC57-9AC9C7637A6F}" sibTransId="{AED877F1-1710-4040-B31C-37FB3F59E80E}"/>
    <dgm:cxn modelId="{5F863A35-79AB-E244-9064-51BCF913DAEF}" type="presOf" srcId="{D08716CE-421A-8F4A-A3CE-2A585DD21BE2}" destId="{D2DEA70E-436F-4D40-B78D-E74745BC6C17}" srcOrd="0" destOrd="0" presId="urn:microsoft.com/office/officeart/2005/8/layout/vList2"/>
    <dgm:cxn modelId="{524FA1D0-990F-8947-9FB2-4EC38B101AE0}" type="presOf" srcId="{9A509C9B-838A-E64F-8B9D-03A9D5D61503}" destId="{AEE1901D-54CF-6742-8C1C-0B3F7E38617D}" srcOrd="0" destOrd="0" presId="urn:microsoft.com/office/officeart/2005/8/layout/vList2"/>
    <dgm:cxn modelId="{5B2A236A-1BB7-4945-8C86-46BE0935D08A}" type="presParOf" srcId="{AEE1901D-54CF-6742-8C1C-0B3F7E38617D}" destId="{D2DEA70E-436F-4D40-B78D-E74745BC6C1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879DA9-3A1A-1D45-88FC-92425A81EEFE}" type="doc">
      <dgm:prSet loTypeId="urn:microsoft.com/office/officeart/2005/8/layout/chevron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FE6CA363-5AB4-F148-AFF2-B5DA93DA0D5F}">
      <dgm:prSet phldrT="[文本]" custT="1"/>
      <dgm:spPr/>
      <dgm:t>
        <a:bodyPr/>
        <a:lstStyle/>
        <a:p>
          <a:r>
            <a:rPr lang="en-US" altLang="zh-CN" sz="1100" dirty="0"/>
            <a:t>2019</a:t>
          </a:r>
          <a:r>
            <a:rPr lang="zh-CN" altLang="en-US" sz="1100" dirty="0"/>
            <a:t> </a:t>
          </a:r>
          <a:r>
            <a:rPr lang="en-US" altLang="zh-CN" sz="1100" dirty="0"/>
            <a:t>Q4</a:t>
          </a:r>
          <a:endParaRPr lang="zh-CN" altLang="en-US" sz="1100" dirty="0"/>
        </a:p>
      </dgm:t>
    </dgm:pt>
    <dgm:pt modelId="{252D2A6A-8B38-A74E-8DBE-9455F131DD03}" type="parTrans" cxnId="{FB63EC3A-16C1-054D-B81E-6A40198FC77B}">
      <dgm:prSet/>
      <dgm:spPr/>
      <dgm:t>
        <a:bodyPr/>
        <a:lstStyle/>
        <a:p>
          <a:endParaRPr lang="zh-CN" altLang="en-US" sz="1100"/>
        </a:p>
      </dgm:t>
    </dgm:pt>
    <dgm:pt modelId="{92D3C6F3-FC75-9B40-9EE5-3A6A0FD06B49}" type="sibTrans" cxnId="{FB63EC3A-16C1-054D-B81E-6A40198FC77B}">
      <dgm:prSet/>
      <dgm:spPr/>
      <dgm:t>
        <a:bodyPr/>
        <a:lstStyle/>
        <a:p>
          <a:endParaRPr lang="zh-CN" altLang="en-US" sz="1100"/>
        </a:p>
      </dgm:t>
    </dgm:pt>
    <dgm:pt modelId="{16DA7F03-3FBA-D347-957A-378D2F02D08C}">
      <dgm:prSet phldrT="[文本]" custT="1"/>
      <dgm:spPr/>
      <dgm:t>
        <a:bodyPr/>
        <a:lstStyle/>
        <a:p>
          <a:r>
            <a:rPr lang="zh-CN" altLang="en-US" sz="1100" dirty="0"/>
            <a:t>核心</a:t>
          </a:r>
          <a:r>
            <a:rPr lang="en-US" altLang="zh-CN" sz="1100" dirty="0"/>
            <a:t>Service</a:t>
          </a:r>
          <a:r>
            <a:rPr lang="zh-CN" altLang="en-US" sz="1100" dirty="0"/>
            <a:t>迁移</a:t>
          </a:r>
          <a:r>
            <a:rPr lang="en-US" altLang="zh-CN" sz="1100" dirty="0"/>
            <a:t>Go</a:t>
          </a:r>
          <a:r>
            <a:rPr lang="zh-CN" altLang="en-US" sz="1100" dirty="0"/>
            <a:t>技术栈，完善提交服务的流量迁移方案</a:t>
          </a:r>
        </a:p>
      </dgm:t>
    </dgm:pt>
    <dgm:pt modelId="{42E5AEC8-6E2E-464C-9C59-DFB95EF78CED}" type="parTrans" cxnId="{E723CEF1-8E22-2B40-B88A-39D2CB2DC986}">
      <dgm:prSet/>
      <dgm:spPr/>
      <dgm:t>
        <a:bodyPr/>
        <a:lstStyle/>
        <a:p>
          <a:endParaRPr lang="zh-CN" altLang="en-US" sz="1100"/>
        </a:p>
      </dgm:t>
    </dgm:pt>
    <dgm:pt modelId="{2C5F4C28-D775-C440-9E71-F24C1836F2D6}" type="sibTrans" cxnId="{E723CEF1-8E22-2B40-B88A-39D2CB2DC986}">
      <dgm:prSet/>
      <dgm:spPr/>
      <dgm:t>
        <a:bodyPr/>
        <a:lstStyle/>
        <a:p>
          <a:endParaRPr lang="zh-CN" altLang="en-US" sz="1100"/>
        </a:p>
      </dgm:t>
    </dgm:pt>
    <dgm:pt modelId="{2880D399-363D-BB44-AEA0-346D326DC625}">
      <dgm:prSet phldrT="[文本]" custT="1"/>
      <dgm:spPr/>
      <dgm:t>
        <a:bodyPr/>
        <a:lstStyle/>
        <a:p>
          <a:r>
            <a:rPr lang="zh-CN" altLang="en-US" sz="1100" dirty="0"/>
            <a:t>推进</a:t>
          </a:r>
          <a:r>
            <a:rPr lang="en-US" altLang="zh-CN" sz="1100" dirty="0"/>
            <a:t>go</a:t>
          </a:r>
          <a:r>
            <a:rPr lang="zh-CN" altLang="en-US" sz="1100" dirty="0"/>
            <a:t>微服务</a:t>
          </a:r>
          <a:r>
            <a:rPr lang="en-US" altLang="zh-CN" sz="1100" dirty="0"/>
            <a:t>DevOps</a:t>
          </a:r>
          <a:r>
            <a:rPr lang="zh-CN" altLang="en-US" sz="1100" dirty="0"/>
            <a:t>建设，实现沙盒环境</a:t>
          </a:r>
          <a:r>
            <a:rPr lang="en-US" altLang="zh-CN" sz="1100" dirty="0"/>
            <a:t>&amp;</a:t>
          </a:r>
          <a:r>
            <a:rPr lang="zh-CN" altLang="en-US" sz="1100" dirty="0"/>
            <a:t>分级发布</a:t>
          </a:r>
        </a:p>
      </dgm:t>
    </dgm:pt>
    <dgm:pt modelId="{E3E0D627-FCC8-FC41-8126-5B9174CE7DED}" type="parTrans" cxnId="{CCA6F8FD-29F7-2947-BF23-20B220ADC194}">
      <dgm:prSet/>
      <dgm:spPr/>
      <dgm:t>
        <a:bodyPr/>
        <a:lstStyle/>
        <a:p>
          <a:endParaRPr lang="zh-CN" altLang="en-US" sz="1100"/>
        </a:p>
      </dgm:t>
    </dgm:pt>
    <dgm:pt modelId="{92ACE495-D448-EA40-A130-7CF4F6280D9B}" type="sibTrans" cxnId="{CCA6F8FD-29F7-2947-BF23-20B220ADC194}">
      <dgm:prSet/>
      <dgm:spPr/>
      <dgm:t>
        <a:bodyPr/>
        <a:lstStyle/>
        <a:p>
          <a:endParaRPr lang="zh-CN" altLang="en-US" sz="1100"/>
        </a:p>
      </dgm:t>
    </dgm:pt>
    <dgm:pt modelId="{1E12E64C-BC5F-024F-B115-B27AEAE660E5}">
      <dgm:prSet phldrT="[文本]" custT="1"/>
      <dgm:spPr/>
      <dgm:t>
        <a:bodyPr/>
        <a:lstStyle/>
        <a:p>
          <a:r>
            <a:rPr lang="en-US" altLang="zh-CN" sz="1100" dirty="0"/>
            <a:t>2020</a:t>
          </a:r>
          <a:r>
            <a:rPr lang="zh-CN" altLang="en-US" sz="1100" dirty="0"/>
            <a:t> </a:t>
          </a:r>
          <a:r>
            <a:rPr lang="en-US" altLang="zh-CN" sz="1100" dirty="0"/>
            <a:t>Q1</a:t>
          </a:r>
          <a:endParaRPr lang="zh-CN" altLang="en-US" sz="1100" dirty="0"/>
        </a:p>
      </dgm:t>
    </dgm:pt>
    <dgm:pt modelId="{DDA70F02-81F7-6244-A4A7-725239B3A078}" type="parTrans" cxnId="{A5C94823-EA48-9B44-AE85-7AE6D0534A41}">
      <dgm:prSet/>
      <dgm:spPr/>
      <dgm:t>
        <a:bodyPr/>
        <a:lstStyle/>
        <a:p>
          <a:endParaRPr lang="zh-CN" altLang="en-US" sz="1100"/>
        </a:p>
      </dgm:t>
    </dgm:pt>
    <dgm:pt modelId="{968E0826-4C05-FB48-AA4F-216C1CFC3CB5}" type="sibTrans" cxnId="{A5C94823-EA48-9B44-AE85-7AE6D0534A41}">
      <dgm:prSet/>
      <dgm:spPr/>
      <dgm:t>
        <a:bodyPr/>
        <a:lstStyle/>
        <a:p>
          <a:endParaRPr lang="zh-CN" altLang="en-US" sz="1100"/>
        </a:p>
      </dgm:t>
    </dgm:pt>
    <dgm:pt modelId="{3C8619F0-266B-1448-9DE9-E4EECAF5A629}">
      <dgm:prSet phldrT="[文本]" custT="1"/>
      <dgm:spPr/>
      <dgm:t>
        <a:bodyPr/>
        <a:lstStyle/>
        <a:p>
          <a:r>
            <a:rPr lang="zh-CN" altLang="en-US" sz="1100" dirty="0"/>
            <a:t>非核心服务</a:t>
          </a:r>
          <a:r>
            <a:rPr lang="en-US" altLang="zh-CN" sz="1100" dirty="0"/>
            <a:t>&amp;</a:t>
          </a:r>
          <a:r>
            <a:rPr lang="zh-CN" altLang="en-US" sz="1100" dirty="0"/>
            <a:t>核心</a:t>
          </a:r>
          <a:r>
            <a:rPr lang="en-US" altLang="zh-CN" sz="1100" dirty="0"/>
            <a:t>UI</a:t>
          </a:r>
          <a:r>
            <a:rPr lang="zh-CN" altLang="en-US" sz="1100" dirty="0"/>
            <a:t>迁移</a:t>
          </a:r>
          <a:r>
            <a:rPr lang="en-US" altLang="zh-CN" sz="1100" dirty="0"/>
            <a:t>Go</a:t>
          </a:r>
          <a:r>
            <a:rPr lang="zh-CN" altLang="en-US" sz="1100" dirty="0"/>
            <a:t>技术栈</a:t>
          </a:r>
        </a:p>
      </dgm:t>
    </dgm:pt>
    <dgm:pt modelId="{A0B168D9-D59F-4242-8942-4065B8A17C17}" type="parTrans" cxnId="{67F70041-ED89-A347-8553-C8B1BFA6665C}">
      <dgm:prSet/>
      <dgm:spPr/>
      <dgm:t>
        <a:bodyPr/>
        <a:lstStyle/>
        <a:p>
          <a:endParaRPr lang="zh-CN" altLang="en-US" sz="1100"/>
        </a:p>
      </dgm:t>
    </dgm:pt>
    <dgm:pt modelId="{797E1B81-F0E9-5D46-BDAD-9E1049AE6958}" type="sibTrans" cxnId="{67F70041-ED89-A347-8553-C8B1BFA6665C}">
      <dgm:prSet/>
      <dgm:spPr/>
      <dgm:t>
        <a:bodyPr/>
        <a:lstStyle/>
        <a:p>
          <a:endParaRPr lang="zh-CN" altLang="en-US" sz="1100"/>
        </a:p>
      </dgm:t>
    </dgm:pt>
    <dgm:pt modelId="{0AC0A6E5-D50D-9049-BA84-B308DB60A9BB}">
      <dgm:prSet phldrT="[文本]" custT="1"/>
      <dgm:spPr/>
      <dgm:t>
        <a:bodyPr/>
        <a:lstStyle/>
        <a:p>
          <a:r>
            <a:rPr lang="en-US" altLang="zh-CN" sz="1100" dirty="0"/>
            <a:t>2020</a:t>
          </a:r>
          <a:r>
            <a:rPr lang="zh-CN" altLang="en-US" sz="1100" dirty="0"/>
            <a:t> </a:t>
          </a:r>
          <a:r>
            <a:rPr lang="en-US" altLang="zh-CN" sz="1100" dirty="0"/>
            <a:t>Q2</a:t>
          </a:r>
          <a:endParaRPr lang="zh-CN" altLang="en-US" sz="1100" dirty="0"/>
        </a:p>
      </dgm:t>
    </dgm:pt>
    <dgm:pt modelId="{C53FC955-E44B-4E46-984F-128E30362BB4}" type="parTrans" cxnId="{467F24CE-16C3-4E4E-AB6A-F67706E29768}">
      <dgm:prSet/>
      <dgm:spPr/>
      <dgm:t>
        <a:bodyPr/>
        <a:lstStyle/>
        <a:p>
          <a:endParaRPr lang="zh-CN" altLang="en-US" sz="1100"/>
        </a:p>
      </dgm:t>
    </dgm:pt>
    <dgm:pt modelId="{7204D1D2-1C2A-654B-AC37-BC60DA2DF3A4}" type="sibTrans" cxnId="{467F24CE-16C3-4E4E-AB6A-F67706E29768}">
      <dgm:prSet/>
      <dgm:spPr/>
      <dgm:t>
        <a:bodyPr/>
        <a:lstStyle/>
        <a:p>
          <a:endParaRPr lang="zh-CN" altLang="en-US" sz="1100"/>
        </a:p>
      </dgm:t>
    </dgm:pt>
    <dgm:pt modelId="{637BDD14-6E3D-D34E-9B80-DE597ACA8B29}">
      <dgm:prSet phldrT="[文本]" custT="1"/>
      <dgm:spPr/>
      <dgm:t>
        <a:bodyPr/>
        <a:lstStyle/>
        <a:p>
          <a:r>
            <a:rPr lang="zh-CN" altLang="en-US" sz="1100" dirty="0"/>
            <a:t>推进</a:t>
          </a:r>
          <a:r>
            <a:rPr lang="en-US" altLang="zh-CN" sz="1100" dirty="0"/>
            <a:t>PHP</a:t>
          </a:r>
          <a:r>
            <a:rPr lang="zh-CN" altLang="en-US" sz="1100" dirty="0"/>
            <a:t>业务迁移</a:t>
          </a:r>
          <a:r>
            <a:rPr lang="en-US" altLang="zh-CN" sz="1100" dirty="0"/>
            <a:t>Go</a:t>
          </a:r>
          <a:r>
            <a:rPr lang="zh-CN" altLang="en-US" sz="1100" dirty="0"/>
            <a:t>技术栈</a:t>
          </a:r>
        </a:p>
      </dgm:t>
    </dgm:pt>
    <dgm:pt modelId="{66951A8F-F882-3A4C-9DEE-3434BD01B442}" type="parTrans" cxnId="{C75F9922-A159-4B47-BC70-D5EE96D2AEE4}">
      <dgm:prSet/>
      <dgm:spPr/>
      <dgm:t>
        <a:bodyPr/>
        <a:lstStyle/>
        <a:p>
          <a:endParaRPr lang="zh-CN" altLang="en-US" sz="1100"/>
        </a:p>
      </dgm:t>
    </dgm:pt>
    <dgm:pt modelId="{B037CF99-5810-E340-9821-432A017054A4}" type="sibTrans" cxnId="{C75F9922-A159-4B47-BC70-D5EE96D2AEE4}">
      <dgm:prSet/>
      <dgm:spPr/>
      <dgm:t>
        <a:bodyPr/>
        <a:lstStyle/>
        <a:p>
          <a:endParaRPr lang="zh-CN" altLang="en-US" sz="1100"/>
        </a:p>
      </dgm:t>
    </dgm:pt>
    <dgm:pt modelId="{92A3DC8D-8973-ED42-B904-CA7CEB8439AB}">
      <dgm:prSet phldrT="[文本]" custT="1"/>
      <dgm:spPr/>
      <dgm:t>
        <a:bodyPr/>
        <a:lstStyle/>
        <a:p>
          <a:r>
            <a:rPr lang="en-US" altLang="zh-CN" sz="1100" dirty="0"/>
            <a:t>Go</a:t>
          </a:r>
          <a:r>
            <a:rPr lang="zh-CN" altLang="en-US" sz="1100" dirty="0"/>
            <a:t>服务部署</a:t>
          </a:r>
          <a:r>
            <a:rPr lang="en-US" altLang="zh-CN" sz="1100" dirty="0"/>
            <a:t>Baidu</a:t>
          </a:r>
          <a:r>
            <a:rPr lang="zh-CN" altLang="en-US" sz="1100" dirty="0"/>
            <a:t> </a:t>
          </a:r>
          <a:r>
            <a:rPr lang="en-US" altLang="zh-CN" sz="1100" dirty="0"/>
            <a:t>Service</a:t>
          </a:r>
          <a:r>
            <a:rPr lang="zh-CN" altLang="en-US" sz="1100" dirty="0"/>
            <a:t> </a:t>
          </a:r>
          <a:r>
            <a:rPr lang="en-US" altLang="zh-CN" sz="1100" dirty="0"/>
            <a:t>mesh</a:t>
          </a:r>
          <a:r>
            <a:rPr lang="zh-CN" altLang="en-US" sz="1100" dirty="0"/>
            <a:t>，调研上云方案</a:t>
          </a:r>
        </a:p>
      </dgm:t>
    </dgm:pt>
    <dgm:pt modelId="{5E0A4ABB-6EB1-344D-8745-045786F78C28}" type="parTrans" cxnId="{283C5BF0-9A47-BF43-9CE0-663E34C1D265}">
      <dgm:prSet/>
      <dgm:spPr/>
      <dgm:t>
        <a:bodyPr/>
        <a:lstStyle/>
        <a:p>
          <a:endParaRPr lang="zh-CN" altLang="en-US" sz="1100"/>
        </a:p>
      </dgm:t>
    </dgm:pt>
    <dgm:pt modelId="{B0ED3A58-2612-0040-AE6D-886D5F7C8025}" type="sibTrans" cxnId="{283C5BF0-9A47-BF43-9CE0-663E34C1D265}">
      <dgm:prSet/>
      <dgm:spPr/>
      <dgm:t>
        <a:bodyPr/>
        <a:lstStyle/>
        <a:p>
          <a:endParaRPr lang="zh-CN" altLang="en-US" sz="1100"/>
        </a:p>
      </dgm:t>
    </dgm:pt>
    <dgm:pt modelId="{30B588B3-3DEA-9B4B-92EC-90A6F01F2A73}">
      <dgm:prSet custT="1"/>
      <dgm:spPr/>
      <dgm:t>
        <a:bodyPr/>
        <a:lstStyle/>
        <a:p>
          <a:r>
            <a:rPr lang="en-US" altLang="zh-CN" sz="1100" dirty="0"/>
            <a:t>2020</a:t>
          </a:r>
          <a:r>
            <a:rPr lang="zh-CN" altLang="en-US" sz="1100" dirty="0"/>
            <a:t> </a:t>
          </a:r>
          <a:r>
            <a:rPr lang="en-US" altLang="zh-CN" sz="1100" dirty="0"/>
            <a:t>Q3</a:t>
          </a:r>
          <a:endParaRPr lang="zh-CN" altLang="en-US" sz="1100" dirty="0"/>
        </a:p>
      </dgm:t>
    </dgm:pt>
    <dgm:pt modelId="{FD7E4CFB-204C-634B-A93D-E12C05D162E1}" type="parTrans" cxnId="{1CDB724D-AC76-BF47-BC7E-FFD5BEC59318}">
      <dgm:prSet/>
      <dgm:spPr/>
      <dgm:t>
        <a:bodyPr/>
        <a:lstStyle/>
        <a:p>
          <a:endParaRPr lang="zh-CN" altLang="en-US" sz="1100"/>
        </a:p>
      </dgm:t>
    </dgm:pt>
    <dgm:pt modelId="{5CF3EE45-30AF-7941-A059-0E07410D5ADD}" type="sibTrans" cxnId="{1CDB724D-AC76-BF47-BC7E-FFD5BEC59318}">
      <dgm:prSet/>
      <dgm:spPr/>
      <dgm:t>
        <a:bodyPr/>
        <a:lstStyle/>
        <a:p>
          <a:endParaRPr lang="zh-CN" altLang="en-US" sz="1100"/>
        </a:p>
      </dgm:t>
    </dgm:pt>
    <dgm:pt modelId="{A571A7F5-3B69-E04D-949A-477A075DEE5C}">
      <dgm:prSet custT="1"/>
      <dgm:spPr/>
      <dgm:t>
        <a:bodyPr/>
        <a:lstStyle/>
        <a:p>
          <a:r>
            <a:rPr lang="zh-CN" altLang="en-US" sz="1100" dirty="0"/>
            <a:t>制定上云方案，推动首批业务上云</a:t>
          </a:r>
        </a:p>
      </dgm:t>
    </dgm:pt>
    <dgm:pt modelId="{B4CF916A-B4D7-5548-990E-F4067B780A6D}" type="parTrans" cxnId="{C50E101E-B776-8048-B674-F69941799611}">
      <dgm:prSet/>
      <dgm:spPr/>
      <dgm:t>
        <a:bodyPr/>
        <a:lstStyle/>
        <a:p>
          <a:endParaRPr lang="zh-CN" altLang="en-US" sz="1100"/>
        </a:p>
      </dgm:t>
    </dgm:pt>
    <dgm:pt modelId="{55C02C32-010A-3247-8525-C6E183012728}" type="sibTrans" cxnId="{C50E101E-B776-8048-B674-F69941799611}">
      <dgm:prSet/>
      <dgm:spPr/>
      <dgm:t>
        <a:bodyPr/>
        <a:lstStyle/>
        <a:p>
          <a:endParaRPr lang="zh-CN" altLang="en-US" sz="1100"/>
        </a:p>
      </dgm:t>
    </dgm:pt>
    <dgm:pt modelId="{2CF87724-AD94-FA4C-9098-41FDF391B169}">
      <dgm:prSet phldrT="[文本]" custT="1"/>
      <dgm:spPr/>
      <dgm:t>
        <a:bodyPr/>
        <a:lstStyle/>
        <a:p>
          <a:r>
            <a:rPr lang="zh-CN" altLang="en-US" sz="1100" dirty="0"/>
            <a:t>小规模部署</a:t>
          </a:r>
          <a:r>
            <a:rPr lang="en-US" altLang="zh-CN" sz="1100" dirty="0"/>
            <a:t>Baidu</a:t>
          </a:r>
          <a:r>
            <a:rPr lang="zh-CN" altLang="en-US" sz="1100" dirty="0"/>
            <a:t> </a:t>
          </a:r>
          <a:r>
            <a:rPr lang="en-US" altLang="zh-CN" sz="1100" dirty="0"/>
            <a:t>Service</a:t>
          </a:r>
          <a:r>
            <a:rPr lang="zh-CN" altLang="en-US" sz="1100" dirty="0"/>
            <a:t> </a:t>
          </a:r>
          <a:r>
            <a:rPr lang="en-US" altLang="zh-CN" sz="1100" dirty="0"/>
            <a:t>Mesh</a:t>
          </a:r>
          <a:r>
            <a:rPr lang="zh-CN" altLang="en-US" sz="1100" dirty="0"/>
            <a:t>服务</a:t>
          </a:r>
        </a:p>
      </dgm:t>
    </dgm:pt>
    <dgm:pt modelId="{812AFD5E-BAF0-034D-9ABC-67784322665E}" type="parTrans" cxnId="{BFABF4E1-69CC-2F4B-AD58-92560B9EDA0F}">
      <dgm:prSet/>
      <dgm:spPr/>
      <dgm:t>
        <a:bodyPr/>
        <a:lstStyle/>
        <a:p>
          <a:endParaRPr lang="zh-CN" altLang="en-US" sz="1100"/>
        </a:p>
      </dgm:t>
    </dgm:pt>
    <dgm:pt modelId="{0B20CEF0-007C-A14D-8186-C8319D87BA19}" type="sibTrans" cxnId="{BFABF4E1-69CC-2F4B-AD58-92560B9EDA0F}">
      <dgm:prSet/>
      <dgm:spPr/>
      <dgm:t>
        <a:bodyPr/>
        <a:lstStyle/>
        <a:p>
          <a:endParaRPr lang="zh-CN" altLang="en-US" sz="1100"/>
        </a:p>
      </dgm:t>
    </dgm:pt>
    <dgm:pt modelId="{7BA3F270-C473-154D-8B60-9021DB001841}">
      <dgm:prSet phldrT="[文本]" custT="1"/>
      <dgm:spPr/>
      <dgm:t>
        <a:bodyPr/>
        <a:lstStyle/>
        <a:p>
          <a:r>
            <a:rPr lang="zh-CN" altLang="en-US" sz="1100" dirty="0"/>
            <a:t>调研手百体系业务数据打通方案</a:t>
          </a:r>
        </a:p>
      </dgm:t>
    </dgm:pt>
    <dgm:pt modelId="{C129915C-7D8A-F741-87EF-5C810EC3027E}" type="parTrans" cxnId="{8B2B8159-B847-224A-9B3A-26B422E5CA9C}">
      <dgm:prSet/>
      <dgm:spPr/>
      <dgm:t>
        <a:bodyPr/>
        <a:lstStyle/>
        <a:p>
          <a:endParaRPr lang="zh-CN" altLang="en-US" sz="1100"/>
        </a:p>
      </dgm:t>
    </dgm:pt>
    <dgm:pt modelId="{32944520-AE00-254C-AF10-B8F67AA79248}" type="sibTrans" cxnId="{8B2B8159-B847-224A-9B3A-26B422E5CA9C}">
      <dgm:prSet/>
      <dgm:spPr/>
      <dgm:t>
        <a:bodyPr/>
        <a:lstStyle/>
        <a:p>
          <a:endParaRPr lang="zh-CN" altLang="en-US" sz="1100"/>
        </a:p>
      </dgm:t>
    </dgm:pt>
    <dgm:pt modelId="{DC6D5956-F99E-2B48-A99C-F92B64272126}">
      <dgm:prSet phldrT="[文本]" custT="1"/>
      <dgm:spPr/>
      <dgm:t>
        <a:bodyPr/>
        <a:lstStyle/>
        <a:p>
          <a:r>
            <a:rPr lang="zh-CN" altLang="en-US" sz="1100" dirty="0"/>
            <a:t>业务监控迁移</a:t>
          </a:r>
          <a:r>
            <a:rPr lang="en-US" altLang="zh-CN" sz="1100" dirty="0"/>
            <a:t>SIA</a:t>
          </a:r>
          <a:r>
            <a:rPr lang="zh-CN" altLang="en-US" sz="1100" dirty="0"/>
            <a:t>，单实例故障自动屏蔽，接入华佗平台实现智能分析</a:t>
          </a:r>
        </a:p>
      </dgm:t>
    </dgm:pt>
    <dgm:pt modelId="{2C181007-4BB0-2540-8BE5-F57A181E108F}" type="parTrans" cxnId="{C82AA8AE-15AC-5043-B2BE-2A19AF14A2C9}">
      <dgm:prSet/>
      <dgm:spPr/>
      <dgm:t>
        <a:bodyPr/>
        <a:lstStyle/>
        <a:p>
          <a:endParaRPr lang="zh-CN" altLang="en-US" sz="1100"/>
        </a:p>
      </dgm:t>
    </dgm:pt>
    <dgm:pt modelId="{5239FC4E-AC32-014C-A39B-7C787B8618AB}" type="sibTrans" cxnId="{C82AA8AE-15AC-5043-B2BE-2A19AF14A2C9}">
      <dgm:prSet/>
      <dgm:spPr/>
      <dgm:t>
        <a:bodyPr/>
        <a:lstStyle/>
        <a:p>
          <a:endParaRPr lang="zh-CN" altLang="en-US" sz="1100"/>
        </a:p>
      </dgm:t>
    </dgm:pt>
    <dgm:pt modelId="{D08E581B-1A2C-1541-9347-078713C9CC88}">
      <dgm:prSet phldrT="[文本]" custT="1"/>
      <dgm:spPr/>
      <dgm:t>
        <a:bodyPr/>
        <a:lstStyle/>
        <a:p>
          <a:r>
            <a:rPr lang="zh-CN" altLang="en-US" sz="1100" dirty="0"/>
            <a:t>实现手百体系部分业务数据统一</a:t>
          </a:r>
        </a:p>
      </dgm:t>
    </dgm:pt>
    <dgm:pt modelId="{DB10E43B-A3E5-E542-B5A6-8A714A88E5E7}" type="parTrans" cxnId="{5F5AF5AE-3DC0-BF43-856E-F07395E2DDAC}">
      <dgm:prSet/>
      <dgm:spPr/>
      <dgm:t>
        <a:bodyPr/>
        <a:lstStyle/>
        <a:p>
          <a:endParaRPr lang="zh-CN" altLang="en-US" sz="1100"/>
        </a:p>
      </dgm:t>
    </dgm:pt>
    <dgm:pt modelId="{2621BA28-0BE8-464D-B5E9-E1F7F9CDA2C4}" type="sibTrans" cxnId="{5F5AF5AE-3DC0-BF43-856E-F07395E2DDAC}">
      <dgm:prSet/>
      <dgm:spPr/>
      <dgm:t>
        <a:bodyPr/>
        <a:lstStyle/>
        <a:p>
          <a:endParaRPr lang="zh-CN" altLang="en-US" sz="1100"/>
        </a:p>
      </dgm:t>
    </dgm:pt>
    <dgm:pt modelId="{2C271A56-9B30-1045-A640-2E4886F74859}">
      <dgm:prSet custT="1"/>
      <dgm:spPr/>
      <dgm:t>
        <a:bodyPr/>
        <a:lstStyle/>
        <a:p>
          <a:r>
            <a:rPr lang="zh-CN" altLang="en-US" sz="1100" dirty="0"/>
            <a:t>持续推进</a:t>
          </a:r>
          <a:r>
            <a:rPr lang="en-US" altLang="zh-CN" sz="1100" dirty="0"/>
            <a:t>PHP</a:t>
          </a:r>
          <a:r>
            <a:rPr lang="zh-CN" altLang="en-US" sz="1100" dirty="0"/>
            <a:t>业务迁移</a:t>
          </a:r>
          <a:r>
            <a:rPr lang="en-US" altLang="zh-CN" sz="1100" dirty="0"/>
            <a:t>Go</a:t>
          </a:r>
          <a:r>
            <a:rPr lang="zh-CN" altLang="en-US" sz="1100" dirty="0"/>
            <a:t>，预计</a:t>
          </a:r>
          <a:r>
            <a:rPr lang="en-US" altLang="zh-CN" sz="1100" dirty="0"/>
            <a:t>30%PHP</a:t>
          </a:r>
          <a:r>
            <a:rPr lang="zh-CN" altLang="en-US" sz="1100" dirty="0"/>
            <a:t>模块，</a:t>
          </a:r>
          <a:r>
            <a:rPr lang="en-US" altLang="zh-CN" sz="1100" dirty="0"/>
            <a:t>60%</a:t>
          </a:r>
          <a:r>
            <a:rPr lang="zh-CN" altLang="en-US" sz="1100" dirty="0"/>
            <a:t>的业务流量迁移到</a:t>
          </a:r>
          <a:r>
            <a:rPr lang="en-US" altLang="zh-CN" sz="1100" dirty="0"/>
            <a:t>Go</a:t>
          </a:r>
          <a:r>
            <a:rPr lang="zh-CN" altLang="en-US" sz="1100" dirty="0"/>
            <a:t>技术栈</a:t>
          </a:r>
        </a:p>
      </dgm:t>
    </dgm:pt>
    <dgm:pt modelId="{CC220CBB-C545-D94C-A51E-DE12B177F48C}" type="parTrans" cxnId="{89808E39-98E6-CE45-ACA7-3AC0F417B2B0}">
      <dgm:prSet/>
      <dgm:spPr/>
      <dgm:t>
        <a:bodyPr/>
        <a:lstStyle/>
        <a:p>
          <a:endParaRPr lang="zh-CN" altLang="en-US" sz="1100"/>
        </a:p>
      </dgm:t>
    </dgm:pt>
    <dgm:pt modelId="{4FF24D4F-D246-2242-9FB0-D35D24BAB875}" type="sibTrans" cxnId="{89808E39-98E6-CE45-ACA7-3AC0F417B2B0}">
      <dgm:prSet/>
      <dgm:spPr/>
      <dgm:t>
        <a:bodyPr/>
        <a:lstStyle/>
        <a:p>
          <a:endParaRPr lang="zh-CN" altLang="en-US" sz="1100"/>
        </a:p>
      </dgm:t>
    </dgm:pt>
    <dgm:pt modelId="{4AF53EE7-6C8B-864D-9A72-1FC9A6918F08}">
      <dgm:prSet custT="1"/>
      <dgm:spPr/>
      <dgm:t>
        <a:bodyPr/>
        <a:lstStyle/>
        <a:p>
          <a:r>
            <a:rPr lang="zh-CN" altLang="en-US" sz="1100" dirty="0"/>
            <a:t>大规模部署</a:t>
          </a:r>
          <a:r>
            <a:rPr lang="en-US" altLang="zh-CN" sz="1100" dirty="0"/>
            <a:t>Baidu</a:t>
          </a:r>
          <a:r>
            <a:rPr lang="zh-CN" altLang="en-US" sz="1100" dirty="0"/>
            <a:t> </a:t>
          </a:r>
          <a:r>
            <a:rPr lang="en-US" altLang="zh-CN" sz="1100" dirty="0"/>
            <a:t>Service</a:t>
          </a:r>
          <a:r>
            <a:rPr lang="zh-CN" altLang="en-US" sz="1100" dirty="0"/>
            <a:t> </a:t>
          </a:r>
          <a:r>
            <a:rPr lang="en-US" altLang="zh-CN" sz="1100" dirty="0"/>
            <a:t>Mesh</a:t>
          </a:r>
          <a:r>
            <a:rPr lang="zh-CN" altLang="en-US" sz="1100" dirty="0"/>
            <a:t>服务，核心服务的</a:t>
          </a:r>
        </a:p>
      </dgm:t>
    </dgm:pt>
    <dgm:pt modelId="{71BDC7FF-784D-C846-BD4F-9B3B0781FB51}" type="parTrans" cxnId="{A772ABAC-EC1E-D948-BB86-D55B8B6344F6}">
      <dgm:prSet/>
      <dgm:spPr/>
      <dgm:t>
        <a:bodyPr/>
        <a:lstStyle/>
        <a:p>
          <a:endParaRPr lang="zh-CN" altLang="en-US" sz="1100"/>
        </a:p>
      </dgm:t>
    </dgm:pt>
    <dgm:pt modelId="{82DE3E3B-0573-5048-8C22-756827C76F3C}" type="sibTrans" cxnId="{A772ABAC-EC1E-D948-BB86-D55B8B6344F6}">
      <dgm:prSet/>
      <dgm:spPr/>
      <dgm:t>
        <a:bodyPr/>
        <a:lstStyle/>
        <a:p>
          <a:endParaRPr lang="zh-CN" altLang="en-US" sz="1100"/>
        </a:p>
      </dgm:t>
    </dgm:pt>
    <dgm:pt modelId="{490367B1-94FF-E44E-A3B5-23D5C8B8DEC4}" type="pres">
      <dgm:prSet presAssocID="{3E879DA9-3A1A-1D45-88FC-92425A81EEFE}" presName="linearFlow" presStyleCnt="0">
        <dgm:presLayoutVars>
          <dgm:dir/>
          <dgm:animLvl val="lvl"/>
          <dgm:resizeHandles val="exact"/>
        </dgm:presLayoutVars>
      </dgm:prSet>
      <dgm:spPr/>
    </dgm:pt>
    <dgm:pt modelId="{04471CBD-6A22-CD4F-891B-9DCE9A583B79}" type="pres">
      <dgm:prSet presAssocID="{FE6CA363-5AB4-F148-AFF2-B5DA93DA0D5F}" presName="composite" presStyleCnt="0"/>
      <dgm:spPr/>
    </dgm:pt>
    <dgm:pt modelId="{1001B579-BDC1-DE42-816A-4A41D1BD1088}" type="pres">
      <dgm:prSet presAssocID="{FE6CA363-5AB4-F148-AFF2-B5DA93DA0D5F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8F5D8600-58D1-444C-AD3D-29D860275C48}" type="pres">
      <dgm:prSet presAssocID="{FE6CA363-5AB4-F148-AFF2-B5DA93DA0D5F}" presName="descendantText" presStyleLbl="alignAcc1" presStyleIdx="0" presStyleCnt="4">
        <dgm:presLayoutVars>
          <dgm:bulletEnabled val="1"/>
        </dgm:presLayoutVars>
      </dgm:prSet>
      <dgm:spPr/>
    </dgm:pt>
    <dgm:pt modelId="{44536B9D-BF56-0642-9326-5EE5671DDA2B}" type="pres">
      <dgm:prSet presAssocID="{92D3C6F3-FC75-9B40-9EE5-3A6A0FD06B49}" presName="sp" presStyleCnt="0"/>
      <dgm:spPr/>
    </dgm:pt>
    <dgm:pt modelId="{42507C34-24E4-3547-9203-27B3F676466F}" type="pres">
      <dgm:prSet presAssocID="{1E12E64C-BC5F-024F-B115-B27AEAE660E5}" presName="composite" presStyleCnt="0"/>
      <dgm:spPr/>
    </dgm:pt>
    <dgm:pt modelId="{D2541687-A497-1843-BC6F-02296423CB51}" type="pres">
      <dgm:prSet presAssocID="{1E12E64C-BC5F-024F-B115-B27AEAE660E5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624FDF8E-FBF5-C14B-B9D7-3E12E90C7E7E}" type="pres">
      <dgm:prSet presAssocID="{1E12E64C-BC5F-024F-B115-B27AEAE660E5}" presName="descendantText" presStyleLbl="alignAcc1" presStyleIdx="1" presStyleCnt="4">
        <dgm:presLayoutVars>
          <dgm:bulletEnabled val="1"/>
        </dgm:presLayoutVars>
      </dgm:prSet>
      <dgm:spPr/>
    </dgm:pt>
    <dgm:pt modelId="{C6F8EA3C-86B7-5945-9935-E5BF59000AD3}" type="pres">
      <dgm:prSet presAssocID="{968E0826-4C05-FB48-AA4F-216C1CFC3CB5}" presName="sp" presStyleCnt="0"/>
      <dgm:spPr/>
    </dgm:pt>
    <dgm:pt modelId="{4A643FE8-8D12-1D46-9549-C0F309803FDE}" type="pres">
      <dgm:prSet presAssocID="{0AC0A6E5-D50D-9049-BA84-B308DB60A9BB}" presName="composite" presStyleCnt="0"/>
      <dgm:spPr/>
    </dgm:pt>
    <dgm:pt modelId="{562E97C9-758D-7F48-A0F7-0D3D2B291AFC}" type="pres">
      <dgm:prSet presAssocID="{0AC0A6E5-D50D-9049-BA84-B308DB60A9BB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ABFAB44D-2382-264D-BF15-BBBAE3574AC0}" type="pres">
      <dgm:prSet presAssocID="{0AC0A6E5-D50D-9049-BA84-B308DB60A9BB}" presName="descendantText" presStyleLbl="alignAcc1" presStyleIdx="2" presStyleCnt="4">
        <dgm:presLayoutVars>
          <dgm:bulletEnabled val="1"/>
        </dgm:presLayoutVars>
      </dgm:prSet>
      <dgm:spPr/>
    </dgm:pt>
    <dgm:pt modelId="{ABCD0BFF-2A26-8A46-88A0-F91103173B52}" type="pres">
      <dgm:prSet presAssocID="{7204D1D2-1C2A-654B-AC37-BC60DA2DF3A4}" presName="sp" presStyleCnt="0"/>
      <dgm:spPr/>
    </dgm:pt>
    <dgm:pt modelId="{E87C374C-D0A8-8349-AB4E-1FBA03B8CC35}" type="pres">
      <dgm:prSet presAssocID="{30B588B3-3DEA-9B4B-92EC-90A6F01F2A73}" presName="composite" presStyleCnt="0"/>
      <dgm:spPr/>
    </dgm:pt>
    <dgm:pt modelId="{7BA79147-1698-1043-9726-17F997203952}" type="pres">
      <dgm:prSet presAssocID="{30B588B3-3DEA-9B4B-92EC-90A6F01F2A73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A7E0E17E-D831-2A49-B8EC-DA92A2262F31}" type="pres">
      <dgm:prSet presAssocID="{30B588B3-3DEA-9B4B-92EC-90A6F01F2A73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D407140F-4E5E-8A4E-A0F3-69AF24738FC0}" type="presOf" srcId="{FE6CA363-5AB4-F148-AFF2-B5DA93DA0D5F}" destId="{1001B579-BDC1-DE42-816A-4A41D1BD1088}" srcOrd="0" destOrd="0" presId="urn:microsoft.com/office/officeart/2005/8/layout/chevron2"/>
    <dgm:cxn modelId="{D4D20710-4ED1-1645-A9BF-8A1F1BA73648}" type="presOf" srcId="{D08E581B-1A2C-1541-9347-078713C9CC88}" destId="{ABFAB44D-2382-264D-BF15-BBBAE3574AC0}" srcOrd="0" destOrd="2" presId="urn:microsoft.com/office/officeart/2005/8/layout/chevron2"/>
    <dgm:cxn modelId="{5806F614-E431-074B-99CA-1513097F277D}" type="presOf" srcId="{7BA3F270-C473-154D-8B60-9021DB001841}" destId="{8F5D8600-58D1-444C-AD3D-29D860275C48}" srcOrd="0" destOrd="2" presId="urn:microsoft.com/office/officeart/2005/8/layout/chevron2"/>
    <dgm:cxn modelId="{258C711A-6832-6D4A-B336-67ED45FE8649}" type="presOf" srcId="{4AF53EE7-6C8B-864D-9A72-1FC9A6918F08}" destId="{A7E0E17E-D831-2A49-B8EC-DA92A2262F31}" srcOrd="0" destOrd="1" presId="urn:microsoft.com/office/officeart/2005/8/layout/chevron2"/>
    <dgm:cxn modelId="{C50E101E-B776-8048-B674-F69941799611}" srcId="{30B588B3-3DEA-9B4B-92EC-90A6F01F2A73}" destId="{A571A7F5-3B69-E04D-949A-477A075DEE5C}" srcOrd="0" destOrd="0" parTransId="{B4CF916A-B4D7-5548-990E-F4067B780A6D}" sibTransId="{55C02C32-010A-3247-8525-C6E183012728}"/>
    <dgm:cxn modelId="{C75F9922-A159-4B47-BC70-D5EE96D2AEE4}" srcId="{0AC0A6E5-D50D-9049-BA84-B308DB60A9BB}" destId="{637BDD14-6E3D-D34E-9B80-DE597ACA8B29}" srcOrd="0" destOrd="0" parTransId="{66951A8F-F882-3A4C-9DEE-3434BD01B442}" sibTransId="{B037CF99-5810-E340-9821-432A017054A4}"/>
    <dgm:cxn modelId="{A5C94823-EA48-9B44-AE85-7AE6D0534A41}" srcId="{3E879DA9-3A1A-1D45-88FC-92425A81EEFE}" destId="{1E12E64C-BC5F-024F-B115-B27AEAE660E5}" srcOrd="1" destOrd="0" parTransId="{DDA70F02-81F7-6244-A4A7-725239B3A078}" sibTransId="{968E0826-4C05-FB48-AA4F-216C1CFC3CB5}"/>
    <dgm:cxn modelId="{E6A46B34-59CE-A647-9D80-D7F4A529D7BE}" type="presOf" srcId="{637BDD14-6E3D-D34E-9B80-DE597ACA8B29}" destId="{ABFAB44D-2382-264D-BF15-BBBAE3574AC0}" srcOrd="0" destOrd="0" presId="urn:microsoft.com/office/officeart/2005/8/layout/chevron2"/>
    <dgm:cxn modelId="{11821135-2D97-D94A-B326-B31211EC3D4D}" type="presOf" srcId="{16DA7F03-3FBA-D347-957A-378D2F02D08C}" destId="{8F5D8600-58D1-444C-AD3D-29D860275C48}" srcOrd="0" destOrd="0" presId="urn:microsoft.com/office/officeart/2005/8/layout/chevron2"/>
    <dgm:cxn modelId="{89808E39-98E6-CE45-ACA7-3AC0F417B2B0}" srcId="{30B588B3-3DEA-9B4B-92EC-90A6F01F2A73}" destId="{2C271A56-9B30-1045-A640-2E4886F74859}" srcOrd="2" destOrd="0" parTransId="{CC220CBB-C545-D94C-A51E-DE12B177F48C}" sibTransId="{4FF24D4F-D246-2242-9FB0-D35D24BAB875}"/>
    <dgm:cxn modelId="{FB63EC3A-16C1-054D-B81E-6A40198FC77B}" srcId="{3E879DA9-3A1A-1D45-88FC-92425A81EEFE}" destId="{FE6CA363-5AB4-F148-AFF2-B5DA93DA0D5F}" srcOrd="0" destOrd="0" parTransId="{252D2A6A-8B38-A74E-8DBE-9455F131DD03}" sibTransId="{92D3C6F3-FC75-9B40-9EE5-3A6A0FD06B49}"/>
    <dgm:cxn modelId="{67F70041-ED89-A347-8553-C8B1BFA6665C}" srcId="{1E12E64C-BC5F-024F-B115-B27AEAE660E5}" destId="{3C8619F0-266B-1448-9DE9-E4EECAF5A629}" srcOrd="0" destOrd="0" parTransId="{A0B168D9-D59F-4242-8942-4065B8A17C17}" sibTransId="{797E1B81-F0E9-5D46-BDAD-9E1049AE6958}"/>
    <dgm:cxn modelId="{1CDB724D-AC76-BF47-BC7E-FFD5BEC59318}" srcId="{3E879DA9-3A1A-1D45-88FC-92425A81EEFE}" destId="{30B588B3-3DEA-9B4B-92EC-90A6F01F2A73}" srcOrd="3" destOrd="0" parTransId="{FD7E4CFB-204C-634B-A93D-E12C05D162E1}" sibTransId="{5CF3EE45-30AF-7941-A059-0E07410D5ADD}"/>
    <dgm:cxn modelId="{F019704F-1278-864E-A2B2-C67318AFAFF2}" type="presOf" srcId="{92A3DC8D-8973-ED42-B904-CA7CEB8439AB}" destId="{ABFAB44D-2382-264D-BF15-BBBAE3574AC0}" srcOrd="0" destOrd="1" presId="urn:microsoft.com/office/officeart/2005/8/layout/chevron2"/>
    <dgm:cxn modelId="{8B2B8159-B847-224A-9B3A-26B422E5CA9C}" srcId="{FE6CA363-5AB4-F148-AFF2-B5DA93DA0D5F}" destId="{7BA3F270-C473-154D-8B60-9021DB001841}" srcOrd="2" destOrd="0" parTransId="{C129915C-7D8A-F741-87EF-5C810EC3027E}" sibTransId="{32944520-AE00-254C-AF10-B8F67AA79248}"/>
    <dgm:cxn modelId="{6042916D-5086-DB48-BC73-A3107FBB6DAD}" type="presOf" srcId="{2880D399-363D-BB44-AEA0-346D326DC625}" destId="{8F5D8600-58D1-444C-AD3D-29D860275C48}" srcOrd="0" destOrd="1" presId="urn:microsoft.com/office/officeart/2005/8/layout/chevron2"/>
    <dgm:cxn modelId="{C20B6487-B4A9-214E-AECB-A6A9223E14C9}" type="presOf" srcId="{3C8619F0-266B-1448-9DE9-E4EECAF5A629}" destId="{624FDF8E-FBF5-C14B-B9D7-3E12E90C7E7E}" srcOrd="0" destOrd="0" presId="urn:microsoft.com/office/officeart/2005/8/layout/chevron2"/>
    <dgm:cxn modelId="{C27C2593-0B56-C64A-8234-7890AD669165}" type="presOf" srcId="{0AC0A6E5-D50D-9049-BA84-B308DB60A9BB}" destId="{562E97C9-758D-7F48-A0F7-0D3D2B291AFC}" srcOrd="0" destOrd="0" presId="urn:microsoft.com/office/officeart/2005/8/layout/chevron2"/>
    <dgm:cxn modelId="{4C9D1FA4-761D-E344-8D58-2FD529A4F096}" type="presOf" srcId="{DC6D5956-F99E-2B48-A99C-F92B64272126}" destId="{624FDF8E-FBF5-C14B-B9D7-3E12E90C7E7E}" srcOrd="0" destOrd="2" presId="urn:microsoft.com/office/officeart/2005/8/layout/chevron2"/>
    <dgm:cxn modelId="{A772ABAC-EC1E-D948-BB86-D55B8B6344F6}" srcId="{30B588B3-3DEA-9B4B-92EC-90A6F01F2A73}" destId="{4AF53EE7-6C8B-864D-9A72-1FC9A6918F08}" srcOrd="1" destOrd="0" parTransId="{71BDC7FF-784D-C846-BD4F-9B3B0781FB51}" sibTransId="{82DE3E3B-0573-5048-8C22-756827C76F3C}"/>
    <dgm:cxn modelId="{56A866AE-8EF1-5C47-B9F7-B1F5884645D2}" type="presOf" srcId="{30B588B3-3DEA-9B4B-92EC-90A6F01F2A73}" destId="{7BA79147-1698-1043-9726-17F997203952}" srcOrd="0" destOrd="0" presId="urn:microsoft.com/office/officeart/2005/8/layout/chevron2"/>
    <dgm:cxn modelId="{C82AA8AE-15AC-5043-B2BE-2A19AF14A2C9}" srcId="{1E12E64C-BC5F-024F-B115-B27AEAE660E5}" destId="{DC6D5956-F99E-2B48-A99C-F92B64272126}" srcOrd="2" destOrd="0" parTransId="{2C181007-4BB0-2540-8BE5-F57A181E108F}" sibTransId="{5239FC4E-AC32-014C-A39B-7C787B8618AB}"/>
    <dgm:cxn modelId="{5F5AF5AE-3DC0-BF43-856E-F07395E2DDAC}" srcId="{0AC0A6E5-D50D-9049-BA84-B308DB60A9BB}" destId="{D08E581B-1A2C-1541-9347-078713C9CC88}" srcOrd="2" destOrd="0" parTransId="{DB10E43B-A3E5-E542-B5A6-8A714A88E5E7}" sibTransId="{2621BA28-0BE8-464D-B5E9-E1F7F9CDA2C4}"/>
    <dgm:cxn modelId="{467F24CE-16C3-4E4E-AB6A-F67706E29768}" srcId="{3E879DA9-3A1A-1D45-88FC-92425A81EEFE}" destId="{0AC0A6E5-D50D-9049-BA84-B308DB60A9BB}" srcOrd="2" destOrd="0" parTransId="{C53FC955-E44B-4E46-984F-128E30362BB4}" sibTransId="{7204D1D2-1C2A-654B-AC37-BC60DA2DF3A4}"/>
    <dgm:cxn modelId="{E49E6ED8-B767-6344-AEB8-F7EB957FBBB9}" type="presOf" srcId="{2C271A56-9B30-1045-A640-2E4886F74859}" destId="{A7E0E17E-D831-2A49-B8EC-DA92A2262F31}" srcOrd="0" destOrd="2" presId="urn:microsoft.com/office/officeart/2005/8/layout/chevron2"/>
    <dgm:cxn modelId="{C8D3D9D8-34A4-8E45-9163-DB88597C2F8B}" type="presOf" srcId="{2CF87724-AD94-FA4C-9098-41FDF391B169}" destId="{624FDF8E-FBF5-C14B-B9D7-3E12E90C7E7E}" srcOrd="0" destOrd="1" presId="urn:microsoft.com/office/officeart/2005/8/layout/chevron2"/>
    <dgm:cxn modelId="{BFABF4E1-69CC-2F4B-AD58-92560B9EDA0F}" srcId="{1E12E64C-BC5F-024F-B115-B27AEAE660E5}" destId="{2CF87724-AD94-FA4C-9098-41FDF391B169}" srcOrd="1" destOrd="0" parTransId="{812AFD5E-BAF0-034D-9ABC-67784322665E}" sibTransId="{0B20CEF0-007C-A14D-8186-C8319D87BA19}"/>
    <dgm:cxn modelId="{5DD5D2EE-E2A6-484D-9018-2402CBAF03BB}" type="presOf" srcId="{3E879DA9-3A1A-1D45-88FC-92425A81EEFE}" destId="{490367B1-94FF-E44E-A3B5-23D5C8B8DEC4}" srcOrd="0" destOrd="0" presId="urn:microsoft.com/office/officeart/2005/8/layout/chevron2"/>
    <dgm:cxn modelId="{283C5BF0-9A47-BF43-9CE0-663E34C1D265}" srcId="{0AC0A6E5-D50D-9049-BA84-B308DB60A9BB}" destId="{92A3DC8D-8973-ED42-B904-CA7CEB8439AB}" srcOrd="1" destOrd="0" parTransId="{5E0A4ABB-6EB1-344D-8745-045786F78C28}" sibTransId="{B0ED3A58-2612-0040-AE6D-886D5F7C8025}"/>
    <dgm:cxn modelId="{E723CEF1-8E22-2B40-B88A-39D2CB2DC986}" srcId="{FE6CA363-5AB4-F148-AFF2-B5DA93DA0D5F}" destId="{16DA7F03-3FBA-D347-957A-378D2F02D08C}" srcOrd="0" destOrd="0" parTransId="{42E5AEC8-6E2E-464C-9C59-DFB95EF78CED}" sibTransId="{2C5F4C28-D775-C440-9E71-F24C1836F2D6}"/>
    <dgm:cxn modelId="{328679F5-6E48-9540-A19C-E33FB2E76AC8}" type="presOf" srcId="{1E12E64C-BC5F-024F-B115-B27AEAE660E5}" destId="{D2541687-A497-1843-BC6F-02296423CB51}" srcOrd="0" destOrd="0" presId="urn:microsoft.com/office/officeart/2005/8/layout/chevron2"/>
    <dgm:cxn modelId="{0D128FF8-E06A-1846-B9D7-AA30CF449965}" type="presOf" srcId="{A571A7F5-3B69-E04D-949A-477A075DEE5C}" destId="{A7E0E17E-D831-2A49-B8EC-DA92A2262F31}" srcOrd="0" destOrd="0" presId="urn:microsoft.com/office/officeart/2005/8/layout/chevron2"/>
    <dgm:cxn modelId="{CCA6F8FD-29F7-2947-BF23-20B220ADC194}" srcId="{FE6CA363-5AB4-F148-AFF2-B5DA93DA0D5F}" destId="{2880D399-363D-BB44-AEA0-346D326DC625}" srcOrd="1" destOrd="0" parTransId="{E3E0D627-FCC8-FC41-8126-5B9174CE7DED}" sibTransId="{92ACE495-D448-EA40-A130-7CF4F6280D9B}"/>
    <dgm:cxn modelId="{92921298-6E54-5B4F-8A52-62AE98F8AC81}" type="presParOf" srcId="{490367B1-94FF-E44E-A3B5-23D5C8B8DEC4}" destId="{04471CBD-6A22-CD4F-891B-9DCE9A583B79}" srcOrd="0" destOrd="0" presId="urn:microsoft.com/office/officeart/2005/8/layout/chevron2"/>
    <dgm:cxn modelId="{8176C47B-4AD8-4D43-BA0D-10427D43EAC3}" type="presParOf" srcId="{04471CBD-6A22-CD4F-891B-9DCE9A583B79}" destId="{1001B579-BDC1-DE42-816A-4A41D1BD1088}" srcOrd="0" destOrd="0" presId="urn:microsoft.com/office/officeart/2005/8/layout/chevron2"/>
    <dgm:cxn modelId="{9098F83F-80F0-5945-B8F6-C77F3D8DA1D3}" type="presParOf" srcId="{04471CBD-6A22-CD4F-891B-9DCE9A583B79}" destId="{8F5D8600-58D1-444C-AD3D-29D860275C48}" srcOrd="1" destOrd="0" presId="urn:microsoft.com/office/officeart/2005/8/layout/chevron2"/>
    <dgm:cxn modelId="{6DEA73A7-4630-F14C-915D-BB40E2F60B50}" type="presParOf" srcId="{490367B1-94FF-E44E-A3B5-23D5C8B8DEC4}" destId="{44536B9D-BF56-0642-9326-5EE5671DDA2B}" srcOrd="1" destOrd="0" presId="urn:microsoft.com/office/officeart/2005/8/layout/chevron2"/>
    <dgm:cxn modelId="{D7C52D7F-7378-2D44-A551-E1BAEFBE9E4D}" type="presParOf" srcId="{490367B1-94FF-E44E-A3B5-23D5C8B8DEC4}" destId="{42507C34-24E4-3547-9203-27B3F676466F}" srcOrd="2" destOrd="0" presId="urn:microsoft.com/office/officeart/2005/8/layout/chevron2"/>
    <dgm:cxn modelId="{B83D86AD-258D-5A4A-B2A4-FFC58B25FC0A}" type="presParOf" srcId="{42507C34-24E4-3547-9203-27B3F676466F}" destId="{D2541687-A497-1843-BC6F-02296423CB51}" srcOrd="0" destOrd="0" presId="urn:microsoft.com/office/officeart/2005/8/layout/chevron2"/>
    <dgm:cxn modelId="{AEBF03B2-8594-104A-BE38-A88E62E93FDA}" type="presParOf" srcId="{42507C34-24E4-3547-9203-27B3F676466F}" destId="{624FDF8E-FBF5-C14B-B9D7-3E12E90C7E7E}" srcOrd="1" destOrd="0" presId="urn:microsoft.com/office/officeart/2005/8/layout/chevron2"/>
    <dgm:cxn modelId="{BE84191A-B67C-4040-8BCD-443383E96AC0}" type="presParOf" srcId="{490367B1-94FF-E44E-A3B5-23D5C8B8DEC4}" destId="{C6F8EA3C-86B7-5945-9935-E5BF59000AD3}" srcOrd="3" destOrd="0" presId="urn:microsoft.com/office/officeart/2005/8/layout/chevron2"/>
    <dgm:cxn modelId="{251016B9-74F4-F444-BB38-32432C97940B}" type="presParOf" srcId="{490367B1-94FF-E44E-A3B5-23D5C8B8DEC4}" destId="{4A643FE8-8D12-1D46-9549-C0F309803FDE}" srcOrd="4" destOrd="0" presId="urn:microsoft.com/office/officeart/2005/8/layout/chevron2"/>
    <dgm:cxn modelId="{05C9F6A8-678F-4F45-8F42-DBE1EFC84325}" type="presParOf" srcId="{4A643FE8-8D12-1D46-9549-C0F309803FDE}" destId="{562E97C9-758D-7F48-A0F7-0D3D2B291AFC}" srcOrd="0" destOrd="0" presId="urn:microsoft.com/office/officeart/2005/8/layout/chevron2"/>
    <dgm:cxn modelId="{8AE00654-D117-8842-A428-36DEF8A4AC40}" type="presParOf" srcId="{4A643FE8-8D12-1D46-9549-C0F309803FDE}" destId="{ABFAB44D-2382-264D-BF15-BBBAE3574AC0}" srcOrd="1" destOrd="0" presId="urn:microsoft.com/office/officeart/2005/8/layout/chevron2"/>
    <dgm:cxn modelId="{B777855C-0844-724C-8734-8F5DDBC54FC0}" type="presParOf" srcId="{490367B1-94FF-E44E-A3B5-23D5C8B8DEC4}" destId="{ABCD0BFF-2A26-8A46-88A0-F91103173B52}" srcOrd="5" destOrd="0" presId="urn:microsoft.com/office/officeart/2005/8/layout/chevron2"/>
    <dgm:cxn modelId="{9242E10F-5824-BB42-A991-E7198C937A75}" type="presParOf" srcId="{490367B1-94FF-E44E-A3B5-23D5C8B8DEC4}" destId="{E87C374C-D0A8-8349-AB4E-1FBA03B8CC35}" srcOrd="6" destOrd="0" presId="urn:microsoft.com/office/officeart/2005/8/layout/chevron2"/>
    <dgm:cxn modelId="{D5DB259E-A554-DA42-8385-4114DDAE52A0}" type="presParOf" srcId="{E87C374C-D0A8-8349-AB4E-1FBA03B8CC35}" destId="{7BA79147-1698-1043-9726-17F997203952}" srcOrd="0" destOrd="0" presId="urn:microsoft.com/office/officeart/2005/8/layout/chevron2"/>
    <dgm:cxn modelId="{2122CD4D-6042-C742-8DC9-DB387F614663}" type="presParOf" srcId="{E87C374C-D0A8-8349-AB4E-1FBA03B8CC35}" destId="{A7E0E17E-D831-2A49-B8EC-DA92A2262F3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08530C-2429-AF4E-8363-D4ED464E98BB}" type="doc">
      <dgm:prSet loTypeId="urn:microsoft.com/office/officeart/2005/8/layout/vList5" loCatId="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F50000BE-7414-3E44-8A26-0112D4368B5E}">
      <dgm:prSet custT="1"/>
      <dgm:spPr/>
      <dgm:t>
        <a:bodyPr/>
        <a:lstStyle/>
        <a:p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异构技术栈</a:t>
          </a:r>
        </a:p>
      </dgm:t>
    </dgm:pt>
    <dgm:pt modelId="{13F82E48-56DF-F644-8AFD-3F07006149D3}" type="parTrans" cxnId="{E3C9C16F-D241-F248-8564-E98BEAFCF750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1FB60B62-F014-2B46-804B-6FCBBC1D3A20}" type="sibTrans" cxnId="{E3C9C16F-D241-F248-8564-E98BEAFCF750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A63AAE88-E187-054D-B0EA-77BCA81D7138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CN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多语言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(PHP/GO/C++)</a:t>
          </a:r>
          <a:endParaRPr lang="zh-CN" sz="1400" b="1" i="0" dirty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9C53040D-EF74-9844-BBF3-88693EC5C695}" type="parTrans" cxnId="{9792CD39-A242-0A49-A04C-F0C278C6F914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36F67192-9633-0241-B038-4185A21C95A9}" type="sibTrans" cxnId="{9792CD39-A242-0A49-A04C-F0C278C6F914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6C661F9C-D703-014C-A17E-CEAF0C10112D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CN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多协议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(HTTP/</a:t>
          </a:r>
          <a:r>
            <a:rPr lang="en-U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Nshead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/</a:t>
          </a:r>
          <a:r>
            <a:rPr lang="en-U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Websocket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)</a:t>
          </a:r>
          <a:endParaRPr lang="zh-CN" sz="1400" b="1" i="0" dirty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68E2A84D-0E4E-D64B-AA31-8AC74E5C822B}" type="parTrans" cxnId="{4FF673E9-4611-A44E-8968-CEA546C9C5DA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E0FDDF9F-3A70-A44A-999A-985322A354A3}" type="sibTrans" cxnId="{4FF673E9-4611-A44E-8968-CEA546C9C5DA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5725B212-7F48-5F4A-9450-E0B8F1978456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CN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多打包格式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(</a:t>
          </a:r>
          <a:r>
            <a:rPr lang="en-US" altLang="zh-Han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P</a:t>
          </a:r>
          <a:r>
            <a:rPr lang="en-U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rotobuf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/</a:t>
          </a:r>
          <a:r>
            <a:rPr lang="en-US" altLang="zh-Han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J</a:t>
          </a:r>
          <a:r>
            <a:rPr lang="en-U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son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/</a:t>
          </a:r>
          <a:r>
            <a:rPr lang="en-US" altLang="zh-Han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M</a:t>
          </a:r>
          <a:r>
            <a:rPr lang="en-US" sz="1400" b="1" i="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cpack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)</a:t>
          </a:r>
          <a:endParaRPr lang="zh-CN" sz="1400" b="1" i="0" dirty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7D2A7CE8-715B-C342-A6EC-3912E82DD784}" type="parTrans" cxnId="{ABA86186-2A76-2142-81B6-32542FE2804B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59140309-B962-1348-A905-7A0879A74C39}" type="sibTrans" cxnId="{ABA86186-2A76-2142-81B6-32542FE2804B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4E0B374A-2A03-D547-A576-9A0789456ACD}">
      <dgm:prSet custT="1"/>
      <dgm:spPr/>
      <dgm:t>
        <a:bodyPr/>
        <a:lstStyle/>
        <a:p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治理不统一</a:t>
          </a:r>
        </a:p>
      </dgm:t>
    </dgm:pt>
    <dgm:pt modelId="{D6EC5D6B-2081-BC4F-9460-0ED15A62BC0C}" type="parTrans" cxnId="{18D6CD2D-EBA6-7741-AF7E-3CC8C4B78467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EC60FABD-0FEF-844C-B703-27DB8E4A47A5}" type="sibTrans" cxnId="{18D6CD2D-EBA6-7741-AF7E-3CC8C4B78467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CBD03946-552A-1E4D-9DA3-25010CCDC11D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Hans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发现</a:t>
          </a:r>
        </a:p>
      </dgm:t>
    </dgm:pt>
    <dgm:pt modelId="{97135A55-48C3-FA47-8F29-2D58817CD6CE}" type="parTrans" cxnId="{492A6F95-4432-AB44-9878-91DCFCCAED62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A56CE431-4BC9-8D4A-978A-BB501D99B4C8}" type="sibTrans" cxnId="{492A6F95-4432-AB44-9878-91DCFCCAED62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9CBF80DD-23E4-E94C-BF67-2B4CF0999FC0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Hans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降级</a:t>
          </a:r>
        </a:p>
      </dgm:t>
    </dgm:pt>
    <dgm:pt modelId="{E5FD7C11-3533-1645-B775-9C8C8081885F}" type="parTrans" cxnId="{71BB3690-E36E-644B-8F71-8BB693300F9E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DC45D42E-5FEE-684F-9885-9052D4F08904}" type="sibTrans" cxnId="{71BB3690-E36E-644B-8F71-8BB693300F9E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91141424-09B6-6541-B804-7E5AB476B85D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Hans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熔断</a:t>
          </a:r>
        </a:p>
      </dgm:t>
    </dgm:pt>
    <dgm:pt modelId="{210FFFA8-84C0-3A4A-A2FB-A3D6C1301DCF}" type="parTrans" cxnId="{9F99B3BD-010D-2F4E-8A55-00C70AE82F71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ED06E70F-AB37-A64A-8503-19670ACE8C0F}" type="sibTrans" cxnId="{9F99B3BD-010D-2F4E-8A55-00C70AE82F71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0A53B2A4-1BCF-8245-9BA0-8B6CA63B1002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Hans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限流</a:t>
          </a:r>
        </a:p>
      </dgm:t>
    </dgm:pt>
    <dgm:pt modelId="{73DBAC69-3AC3-864C-94DF-7F348932BE0F}" type="parTrans" cxnId="{BC6B1BD9-03DA-9D43-A8BE-EF191A4B0987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C5D42F6D-E4A3-C44C-BA3B-32CE92A0B076}" type="sibTrans" cxnId="{BC6B1BD9-03DA-9D43-A8BE-EF191A4B0987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BC82F7B7-7C45-EF4D-A7ED-B8AF1C5467A5}">
      <dgm:prSet custT="1"/>
      <dgm:spPr/>
      <dgm:t>
        <a:bodyPr/>
        <a:lstStyle/>
        <a:p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Dev</a:t>
          </a:r>
          <a:r>
            <a:rPr lang="en-US" altLang="zh-Han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O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ps</a:t>
          </a:r>
          <a:r>
            <a:rPr lang="zh-CN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不完善</a:t>
          </a:r>
        </a:p>
      </dgm:t>
    </dgm:pt>
    <dgm:pt modelId="{46CE3BEF-E627-4840-A8EA-0FC1B566109C}" type="parTrans" cxnId="{5BB47386-462C-494F-BC4C-38E7C59396A3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7D54BBAB-F18F-B04C-8FD6-1FD8761E2DF3}" type="sibTrans" cxnId="{5BB47386-462C-494F-BC4C-38E7C59396A3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21673528-2CF7-0241-8E1F-0C3056CBBC3B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CN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基础库</a:t>
          </a:r>
          <a:r>
            <a:rPr 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&amp;</a:t>
          </a:r>
          <a:r>
            <a:rPr lang="zh-CN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工具链</a:t>
          </a:r>
        </a:p>
      </dgm:t>
    </dgm:pt>
    <dgm:pt modelId="{57F6AAFB-9616-B54A-B385-40839630136A}" type="parTrans" cxnId="{04F5B764-99FD-8B4D-8E47-3A3DCEC5041C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5EEA51CA-C7F7-7D44-A9F3-395A4691A880}" type="sibTrans" cxnId="{04F5B764-99FD-8B4D-8E47-3A3DCEC5041C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3E766030-6112-9E45-9E2F-BA6B653F4C49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沙盒环境</a:t>
          </a:r>
        </a:p>
      </dgm:t>
    </dgm:pt>
    <dgm:pt modelId="{91452BA4-8594-5D4C-8282-F4D67D43F73F}" type="parTrans" cxnId="{CEE89D80-056B-5B4D-B2C7-10508F7B802D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E7B6F3D1-F714-7C44-9063-982493D2D61B}" type="sibTrans" cxnId="{CEE89D80-056B-5B4D-B2C7-10508F7B802D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9EA466BC-22A1-184C-A497-BD1719B2FA02}">
      <dgm:prSet custT="1"/>
      <dgm:spPr/>
      <dgm:t>
        <a:bodyPr/>
        <a:lstStyle/>
        <a:p>
          <a:pPr marL="36000" indent="-277200">
            <a:buFont typeface="Wingdings" pitchFamily="2" charset="2"/>
            <a:buChar char="ü"/>
          </a:pPr>
          <a:r>
            <a:rPr lang="zh-CN" altLang="en-US" sz="1400" b="1" i="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分级发布</a:t>
          </a:r>
        </a:p>
      </dgm:t>
    </dgm:pt>
    <dgm:pt modelId="{867E022D-BB6D-4F40-9218-8E1A97F05ECF}" type="parTrans" cxnId="{94274D8B-2800-1045-9AA4-95B04A42CA73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7943394D-BE17-0647-8E1A-BD7C1B3EC030}" type="sibTrans" cxnId="{94274D8B-2800-1045-9AA4-95B04A42CA73}">
      <dgm:prSet/>
      <dgm:spPr/>
      <dgm:t>
        <a:bodyPr/>
        <a:lstStyle/>
        <a:p>
          <a:endParaRPr lang="zh-CN" altLang="en-US" sz="1100" b="1" i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gm:t>
    </dgm:pt>
    <dgm:pt modelId="{79804ACC-E869-3543-86D4-01F3A8AA9E6A}" type="pres">
      <dgm:prSet presAssocID="{9908530C-2429-AF4E-8363-D4ED464E98BB}" presName="Name0" presStyleCnt="0">
        <dgm:presLayoutVars>
          <dgm:dir/>
          <dgm:animLvl val="lvl"/>
          <dgm:resizeHandles val="exact"/>
        </dgm:presLayoutVars>
      </dgm:prSet>
      <dgm:spPr/>
    </dgm:pt>
    <dgm:pt modelId="{4AC65561-2035-5E45-97D8-67D632EA0966}" type="pres">
      <dgm:prSet presAssocID="{F50000BE-7414-3E44-8A26-0112D4368B5E}" presName="linNode" presStyleCnt="0"/>
      <dgm:spPr/>
    </dgm:pt>
    <dgm:pt modelId="{BC6F53D6-4379-AF44-8D33-E68EFF799410}" type="pres">
      <dgm:prSet presAssocID="{F50000BE-7414-3E44-8A26-0112D4368B5E}" presName="parentText" presStyleLbl="node1" presStyleIdx="0" presStyleCnt="3" custScaleX="68852" custScaleY="60654">
        <dgm:presLayoutVars>
          <dgm:chMax val="1"/>
          <dgm:bulletEnabled val="1"/>
        </dgm:presLayoutVars>
      </dgm:prSet>
      <dgm:spPr/>
    </dgm:pt>
    <dgm:pt modelId="{BFDB57AF-21B3-6C45-A849-BC8D05DE561A}" type="pres">
      <dgm:prSet presAssocID="{F50000BE-7414-3E44-8A26-0112D4368B5E}" presName="descendantText" presStyleLbl="alignAccFollowNode1" presStyleIdx="0" presStyleCnt="3" custScaleX="97698" custScaleY="72383">
        <dgm:presLayoutVars>
          <dgm:bulletEnabled val="1"/>
        </dgm:presLayoutVars>
      </dgm:prSet>
      <dgm:spPr/>
    </dgm:pt>
    <dgm:pt modelId="{9505E3F7-8CB6-8A4F-823C-261E3B962E1A}" type="pres">
      <dgm:prSet presAssocID="{1FB60B62-F014-2B46-804B-6FCBBC1D3A20}" presName="sp" presStyleCnt="0"/>
      <dgm:spPr/>
    </dgm:pt>
    <dgm:pt modelId="{95714729-4582-6042-ADFB-AFA53D98EC31}" type="pres">
      <dgm:prSet presAssocID="{4E0B374A-2A03-D547-A576-9A0789456ACD}" presName="linNode" presStyleCnt="0"/>
      <dgm:spPr/>
    </dgm:pt>
    <dgm:pt modelId="{E6DD2EBC-E08F-6243-8E67-1EB87F5D9F96}" type="pres">
      <dgm:prSet presAssocID="{4E0B374A-2A03-D547-A576-9A0789456ACD}" presName="parentText" presStyleLbl="node1" presStyleIdx="1" presStyleCnt="3" custScaleX="68852" custScaleY="58897">
        <dgm:presLayoutVars>
          <dgm:chMax val="1"/>
          <dgm:bulletEnabled val="1"/>
        </dgm:presLayoutVars>
      </dgm:prSet>
      <dgm:spPr/>
    </dgm:pt>
    <dgm:pt modelId="{39C723AC-B176-E04C-B1D8-5D047ADF59AA}" type="pres">
      <dgm:prSet presAssocID="{4E0B374A-2A03-D547-A576-9A0789456ACD}" presName="descendantText" presStyleLbl="alignAccFollowNode1" presStyleIdx="1" presStyleCnt="3" custScaleX="97766" custScaleY="75209">
        <dgm:presLayoutVars>
          <dgm:bulletEnabled val="1"/>
        </dgm:presLayoutVars>
      </dgm:prSet>
      <dgm:spPr/>
    </dgm:pt>
    <dgm:pt modelId="{01002230-7241-2C43-A47B-DFCC7363AAA8}" type="pres">
      <dgm:prSet presAssocID="{EC60FABD-0FEF-844C-B703-27DB8E4A47A5}" presName="sp" presStyleCnt="0"/>
      <dgm:spPr/>
    </dgm:pt>
    <dgm:pt modelId="{CE4D4346-0EF8-D04B-A6B1-760D7ACF0AB1}" type="pres">
      <dgm:prSet presAssocID="{BC82F7B7-7C45-EF4D-A7ED-B8AF1C5467A5}" presName="linNode" presStyleCnt="0"/>
      <dgm:spPr/>
    </dgm:pt>
    <dgm:pt modelId="{89FFC55E-2442-E64E-8505-9DB289DE6897}" type="pres">
      <dgm:prSet presAssocID="{BC82F7B7-7C45-EF4D-A7ED-B8AF1C5467A5}" presName="parentText" presStyleLbl="node1" presStyleIdx="2" presStyleCnt="3" custScaleX="68852" custScaleY="57822">
        <dgm:presLayoutVars>
          <dgm:chMax val="1"/>
          <dgm:bulletEnabled val="1"/>
        </dgm:presLayoutVars>
      </dgm:prSet>
      <dgm:spPr/>
    </dgm:pt>
    <dgm:pt modelId="{7A2E6390-FD33-4649-B734-09AD92D2157D}" type="pres">
      <dgm:prSet presAssocID="{BC82F7B7-7C45-EF4D-A7ED-B8AF1C5467A5}" presName="descendantText" presStyleLbl="alignAccFollowNode1" presStyleIdx="2" presStyleCnt="3" custScaleX="97982" custScaleY="72383">
        <dgm:presLayoutVars>
          <dgm:bulletEnabled val="1"/>
        </dgm:presLayoutVars>
      </dgm:prSet>
      <dgm:spPr/>
    </dgm:pt>
  </dgm:ptLst>
  <dgm:cxnLst>
    <dgm:cxn modelId="{5568A500-21AE-064F-9BFA-44E33B5D2A9B}" type="presOf" srcId="{A63AAE88-E187-054D-B0EA-77BCA81D7138}" destId="{BFDB57AF-21B3-6C45-A849-BC8D05DE561A}" srcOrd="0" destOrd="0" presId="urn:microsoft.com/office/officeart/2005/8/layout/vList5"/>
    <dgm:cxn modelId="{7CB20802-9B5E-7949-BBF5-33AD9CE3F3EC}" type="presOf" srcId="{3E766030-6112-9E45-9E2F-BA6B653F4C49}" destId="{7A2E6390-FD33-4649-B734-09AD92D2157D}" srcOrd="0" destOrd="1" presId="urn:microsoft.com/office/officeart/2005/8/layout/vList5"/>
    <dgm:cxn modelId="{29789428-CAC7-6447-AA4E-C4F8D879DBB1}" type="presOf" srcId="{9EA466BC-22A1-184C-A497-BD1719B2FA02}" destId="{7A2E6390-FD33-4649-B734-09AD92D2157D}" srcOrd="0" destOrd="2" presId="urn:microsoft.com/office/officeart/2005/8/layout/vList5"/>
    <dgm:cxn modelId="{18D6CD2D-EBA6-7741-AF7E-3CC8C4B78467}" srcId="{9908530C-2429-AF4E-8363-D4ED464E98BB}" destId="{4E0B374A-2A03-D547-A576-9A0789456ACD}" srcOrd="1" destOrd="0" parTransId="{D6EC5D6B-2081-BC4F-9460-0ED15A62BC0C}" sibTransId="{EC60FABD-0FEF-844C-B703-27DB8E4A47A5}"/>
    <dgm:cxn modelId="{CFBA9A2F-B041-1744-8EF4-4F4C6B72E7B4}" type="presOf" srcId="{9CBF80DD-23E4-E94C-BF67-2B4CF0999FC0}" destId="{39C723AC-B176-E04C-B1D8-5D047ADF59AA}" srcOrd="0" destOrd="1" presId="urn:microsoft.com/office/officeart/2005/8/layout/vList5"/>
    <dgm:cxn modelId="{9792CD39-A242-0A49-A04C-F0C278C6F914}" srcId="{F50000BE-7414-3E44-8A26-0112D4368B5E}" destId="{A63AAE88-E187-054D-B0EA-77BCA81D7138}" srcOrd="0" destOrd="0" parTransId="{9C53040D-EF74-9844-BBF3-88693EC5C695}" sibTransId="{36F67192-9633-0241-B038-4185A21C95A9}"/>
    <dgm:cxn modelId="{04F5B764-99FD-8B4D-8E47-3A3DCEC5041C}" srcId="{BC82F7B7-7C45-EF4D-A7ED-B8AF1C5467A5}" destId="{21673528-2CF7-0241-8E1F-0C3056CBBC3B}" srcOrd="0" destOrd="0" parTransId="{57F6AAFB-9616-B54A-B385-40839630136A}" sibTransId="{5EEA51CA-C7F7-7D44-A9F3-395A4691A880}"/>
    <dgm:cxn modelId="{3E08A365-752F-044C-8B7B-E33FF1554E1E}" type="presOf" srcId="{CBD03946-552A-1E4D-9DA3-25010CCDC11D}" destId="{39C723AC-B176-E04C-B1D8-5D047ADF59AA}" srcOrd="0" destOrd="0" presId="urn:microsoft.com/office/officeart/2005/8/layout/vList5"/>
    <dgm:cxn modelId="{F4D5D065-C653-394B-B6A5-E59794A946DE}" type="presOf" srcId="{21673528-2CF7-0241-8E1F-0C3056CBBC3B}" destId="{7A2E6390-FD33-4649-B734-09AD92D2157D}" srcOrd="0" destOrd="0" presId="urn:microsoft.com/office/officeart/2005/8/layout/vList5"/>
    <dgm:cxn modelId="{B5D5EB6A-ED88-B94C-BE25-2D69C2E94C7A}" type="presOf" srcId="{BC82F7B7-7C45-EF4D-A7ED-B8AF1C5467A5}" destId="{89FFC55E-2442-E64E-8505-9DB289DE6897}" srcOrd="0" destOrd="0" presId="urn:microsoft.com/office/officeart/2005/8/layout/vList5"/>
    <dgm:cxn modelId="{E3C9C16F-D241-F248-8564-E98BEAFCF750}" srcId="{9908530C-2429-AF4E-8363-D4ED464E98BB}" destId="{F50000BE-7414-3E44-8A26-0112D4368B5E}" srcOrd="0" destOrd="0" parTransId="{13F82E48-56DF-F644-8AFD-3F07006149D3}" sibTransId="{1FB60B62-F014-2B46-804B-6FCBBC1D3A20}"/>
    <dgm:cxn modelId="{EBDBBE7B-5CF8-1F4F-B601-63FE06E5D2B3}" type="presOf" srcId="{5725B212-7F48-5F4A-9450-E0B8F1978456}" destId="{BFDB57AF-21B3-6C45-A849-BC8D05DE561A}" srcOrd="0" destOrd="2" presId="urn:microsoft.com/office/officeart/2005/8/layout/vList5"/>
    <dgm:cxn modelId="{CEE89D80-056B-5B4D-B2C7-10508F7B802D}" srcId="{BC82F7B7-7C45-EF4D-A7ED-B8AF1C5467A5}" destId="{3E766030-6112-9E45-9E2F-BA6B653F4C49}" srcOrd="1" destOrd="0" parTransId="{91452BA4-8594-5D4C-8282-F4D67D43F73F}" sibTransId="{E7B6F3D1-F714-7C44-9063-982493D2D61B}"/>
    <dgm:cxn modelId="{ABA86186-2A76-2142-81B6-32542FE2804B}" srcId="{F50000BE-7414-3E44-8A26-0112D4368B5E}" destId="{5725B212-7F48-5F4A-9450-E0B8F1978456}" srcOrd="2" destOrd="0" parTransId="{7D2A7CE8-715B-C342-A6EC-3912E82DD784}" sibTransId="{59140309-B962-1348-A905-7A0879A74C39}"/>
    <dgm:cxn modelId="{5BB47386-462C-494F-BC4C-38E7C59396A3}" srcId="{9908530C-2429-AF4E-8363-D4ED464E98BB}" destId="{BC82F7B7-7C45-EF4D-A7ED-B8AF1C5467A5}" srcOrd="2" destOrd="0" parTransId="{46CE3BEF-E627-4840-A8EA-0FC1B566109C}" sibTransId="{7D54BBAB-F18F-B04C-8FD6-1FD8761E2DF3}"/>
    <dgm:cxn modelId="{02A15989-134E-5648-A543-5070B48F265D}" type="presOf" srcId="{4E0B374A-2A03-D547-A576-9A0789456ACD}" destId="{E6DD2EBC-E08F-6243-8E67-1EB87F5D9F96}" srcOrd="0" destOrd="0" presId="urn:microsoft.com/office/officeart/2005/8/layout/vList5"/>
    <dgm:cxn modelId="{94274D8B-2800-1045-9AA4-95B04A42CA73}" srcId="{BC82F7B7-7C45-EF4D-A7ED-B8AF1C5467A5}" destId="{9EA466BC-22A1-184C-A497-BD1719B2FA02}" srcOrd="2" destOrd="0" parTransId="{867E022D-BB6D-4F40-9218-8E1A97F05ECF}" sibTransId="{7943394D-BE17-0647-8E1A-BD7C1B3EC030}"/>
    <dgm:cxn modelId="{D0AC2B90-851C-6E42-BC4A-AA15E5402637}" type="presOf" srcId="{9908530C-2429-AF4E-8363-D4ED464E98BB}" destId="{79804ACC-E869-3543-86D4-01F3A8AA9E6A}" srcOrd="0" destOrd="0" presId="urn:microsoft.com/office/officeart/2005/8/layout/vList5"/>
    <dgm:cxn modelId="{71BB3690-E36E-644B-8F71-8BB693300F9E}" srcId="{4E0B374A-2A03-D547-A576-9A0789456ACD}" destId="{9CBF80DD-23E4-E94C-BF67-2B4CF0999FC0}" srcOrd="1" destOrd="0" parTransId="{E5FD7C11-3533-1645-B775-9C8C8081885F}" sibTransId="{DC45D42E-5FEE-684F-9885-9052D4F08904}"/>
    <dgm:cxn modelId="{492A6F95-4432-AB44-9878-91DCFCCAED62}" srcId="{4E0B374A-2A03-D547-A576-9A0789456ACD}" destId="{CBD03946-552A-1E4D-9DA3-25010CCDC11D}" srcOrd="0" destOrd="0" parTransId="{97135A55-48C3-FA47-8F29-2D58817CD6CE}" sibTransId="{A56CE431-4BC9-8D4A-978A-BB501D99B4C8}"/>
    <dgm:cxn modelId="{CEB165A3-8BCC-A140-829C-6CF37F1E25AA}" type="presOf" srcId="{91141424-09B6-6541-B804-7E5AB476B85D}" destId="{39C723AC-B176-E04C-B1D8-5D047ADF59AA}" srcOrd="0" destOrd="2" presId="urn:microsoft.com/office/officeart/2005/8/layout/vList5"/>
    <dgm:cxn modelId="{9F99B3BD-010D-2F4E-8A55-00C70AE82F71}" srcId="{4E0B374A-2A03-D547-A576-9A0789456ACD}" destId="{91141424-09B6-6541-B804-7E5AB476B85D}" srcOrd="2" destOrd="0" parTransId="{210FFFA8-84C0-3A4A-A2FB-A3D6C1301DCF}" sibTransId="{ED06E70F-AB37-A64A-8503-19670ACE8C0F}"/>
    <dgm:cxn modelId="{2FDBB5C6-F846-8841-A4AB-CFC423A25195}" type="presOf" srcId="{0A53B2A4-1BCF-8245-9BA0-8B6CA63B1002}" destId="{39C723AC-B176-E04C-B1D8-5D047ADF59AA}" srcOrd="0" destOrd="3" presId="urn:microsoft.com/office/officeart/2005/8/layout/vList5"/>
    <dgm:cxn modelId="{BC6B1BD9-03DA-9D43-A8BE-EF191A4B0987}" srcId="{4E0B374A-2A03-D547-A576-9A0789456ACD}" destId="{0A53B2A4-1BCF-8245-9BA0-8B6CA63B1002}" srcOrd="3" destOrd="0" parTransId="{73DBAC69-3AC3-864C-94DF-7F348932BE0F}" sibTransId="{C5D42F6D-E4A3-C44C-BA3B-32CE92A0B076}"/>
    <dgm:cxn modelId="{08152FE8-77AF-AD4C-A3FA-346268AF851A}" type="presOf" srcId="{6C661F9C-D703-014C-A17E-CEAF0C10112D}" destId="{BFDB57AF-21B3-6C45-A849-BC8D05DE561A}" srcOrd="0" destOrd="1" presId="urn:microsoft.com/office/officeart/2005/8/layout/vList5"/>
    <dgm:cxn modelId="{4FF673E9-4611-A44E-8968-CEA546C9C5DA}" srcId="{F50000BE-7414-3E44-8A26-0112D4368B5E}" destId="{6C661F9C-D703-014C-A17E-CEAF0C10112D}" srcOrd="1" destOrd="0" parTransId="{68E2A84D-0E4E-D64B-AA31-8AC74E5C822B}" sibTransId="{E0FDDF9F-3A70-A44A-999A-985322A354A3}"/>
    <dgm:cxn modelId="{5AB0F9FE-B1E9-2448-A895-C3248E8EC297}" type="presOf" srcId="{F50000BE-7414-3E44-8A26-0112D4368B5E}" destId="{BC6F53D6-4379-AF44-8D33-E68EFF799410}" srcOrd="0" destOrd="0" presId="urn:microsoft.com/office/officeart/2005/8/layout/vList5"/>
    <dgm:cxn modelId="{41A4AE9E-58F7-AB4C-8205-7950C07436C7}" type="presParOf" srcId="{79804ACC-E869-3543-86D4-01F3A8AA9E6A}" destId="{4AC65561-2035-5E45-97D8-67D632EA0966}" srcOrd="0" destOrd="0" presId="urn:microsoft.com/office/officeart/2005/8/layout/vList5"/>
    <dgm:cxn modelId="{50F0505E-4926-AF45-AB83-6C089CF51C9C}" type="presParOf" srcId="{4AC65561-2035-5E45-97D8-67D632EA0966}" destId="{BC6F53D6-4379-AF44-8D33-E68EFF799410}" srcOrd="0" destOrd="0" presId="urn:microsoft.com/office/officeart/2005/8/layout/vList5"/>
    <dgm:cxn modelId="{CADCE4C7-E959-8F43-9E05-3BA75EFED98C}" type="presParOf" srcId="{4AC65561-2035-5E45-97D8-67D632EA0966}" destId="{BFDB57AF-21B3-6C45-A849-BC8D05DE561A}" srcOrd="1" destOrd="0" presId="urn:microsoft.com/office/officeart/2005/8/layout/vList5"/>
    <dgm:cxn modelId="{30C5F58A-7945-984D-B656-A770B5019376}" type="presParOf" srcId="{79804ACC-E869-3543-86D4-01F3A8AA9E6A}" destId="{9505E3F7-8CB6-8A4F-823C-261E3B962E1A}" srcOrd="1" destOrd="0" presId="urn:microsoft.com/office/officeart/2005/8/layout/vList5"/>
    <dgm:cxn modelId="{59F48A38-BD98-4C4A-BAC4-7CAFE858A05C}" type="presParOf" srcId="{79804ACC-E869-3543-86D4-01F3A8AA9E6A}" destId="{95714729-4582-6042-ADFB-AFA53D98EC31}" srcOrd="2" destOrd="0" presId="urn:microsoft.com/office/officeart/2005/8/layout/vList5"/>
    <dgm:cxn modelId="{9366C1CB-AA1E-DA42-81FF-315D9B38C7BA}" type="presParOf" srcId="{95714729-4582-6042-ADFB-AFA53D98EC31}" destId="{E6DD2EBC-E08F-6243-8E67-1EB87F5D9F96}" srcOrd="0" destOrd="0" presId="urn:microsoft.com/office/officeart/2005/8/layout/vList5"/>
    <dgm:cxn modelId="{DBC1EE34-C925-BE4D-AE04-575450FBE021}" type="presParOf" srcId="{95714729-4582-6042-ADFB-AFA53D98EC31}" destId="{39C723AC-B176-E04C-B1D8-5D047ADF59AA}" srcOrd="1" destOrd="0" presId="urn:microsoft.com/office/officeart/2005/8/layout/vList5"/>
    <dgm:cxn modelId="{130177E0-5CA1-904C-8DBA-E2422739A2C5}" type="presParOf" srcId="{79804ACC-E869-3543-86D4-01F3A8AA9E6A}" destId="{01002230-7241-2C43-A47B-DFCC7363AAA8}" srcOrd="3" destOrd="0" presId="urn:microsoft.com/office/officeart/2005/8/layout/vList5"/>
    <dgm:cxn modelId="{DC12A9B8-191E-004D-B702-DD23D952A4B4}" type="presParOf" srcId="{79804ACC-E869-3543-86D4-01F3A8AA9E6A}" destId="{CE4D4346-0EF8-D04B-A6B1-760D7ACF0AB1}" srcOrd="4" destOrd="0" presId="urn:microsoft.com/office/officeart/2005/8/layout/vList5"/>
    <dgm:cxn modelId="{4B58490F-DC9E-6B42-8C26-CEE4A3905973}" type="presParOf" srcId="{CE4D4346-0EF8-D04B-A6B1-760D7ACF0AB1}" destId="{89FFC55E-2442-E64E-8505-9DB289DE6897}" srcOrd="0" destOrd="0" presId="urn:microsoft.com/office/officeart/2005/8/layout/vList5"/>
    <dgm:cxn modelId="{28578FA9-A999-8448-8F1E-513F391AA1AF}" type="presParOf" srcId="{CE4D4346-0EF8-D04B-A6B1-760D7ACF0AB1}" destId="{7A2E6390-FD33-4649-B734-09AD92D215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DEA70E-436F-4D40-B78D-E74745BC6C17}">
      <dsp:nvSpPr>
        <dsp:cNvPr id="0" name=""/>
        <dsp:cNvSpPr/>
      </dsp:nvSpPr>
      <dsp:spPr>
        <a:xfrm>
          <a:off x="0" y="142469"/>
          <a:ext cx="5435029" cy="4650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en-US" sz="1500" kern="1200" dirty="0"/>
            <a:t>Go</a:t>
          </a:r>
          <a:r>
            <a:rPr kumimoji="1" lang="zh-CN" sz="1500" kern="1200" dirty="0"/>
            <a:t>服务预期能够节省</a:t>
          </a:r>
          <a:r>
            <a:rPr kumimoji="1" lang="en-US" sz="1500" kern="1200" dirty="0"/>
            <a:t>60%</a:t>
          </a:r>
          <a:r>
            <a:rPr kumimoji="1" lang="zh-CN" sz="1500" kern="1200" dirty="0"/>
            <a:t>机器资源，有效降低服务运维成本</a:t>
          </a:r>
          <a:endParaRPr lang="zh-CN" sz="1500" kern="1200" dirty="0"/>
        </a:p>
      </dsp:txBody>
      <dsp:txXfrm>
        <a:off x="22703" y="165172"/>
        <a:ext cx="5389623" cy="4196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01B579-BDC1-DE42-816A-4A41D1BD1088}">
      <dsp:nvSpPr>
        <dsp:cNvPr id="0" name=""/>
        <dsp:cNvSpPr/>
      </dsp:nvSpPr>
      <dsp:spPr>
        <a:xfrm rot="5400000">
          <a:off x="-208277" y="213162"/>
          <a:ext cx="1388518" cy="9719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kern="1200" dirty="0"/>
            <a:t>2019</a:t>
          </a:r>
          <a:r>
            <a:rPr lang="zh-CN" altLang="en-US" sz="1100" kern="1200" dirty="0"/>
            <a:t> </a:t>
          </a:r>
          <a:r>
            <a:rPr lang="en-US" altLang="zh-CN" sz="1100" kern="1200" dirty="0"/>
            <a:t>Q4</a:t>
          </a:r>
          <a:endParaRPr lang="zh-CN" altLang="en-US" sz="1100" kern="1200" dirty="0"/>
        </a:p>
      </dsp:txBody>
      <dsp:txXfrm rot="-5400000">
        <a:off x="1" y="490865"/>
        <a:ext cx="971962" cy="416556"/>
      </dsp:txXfrm>
    </dsp:sp>
    <dsp:sp modelId="{8F5D8600-58D1-444C-AD3D-29D860275C48}">
      <dsp:nvSpPr>
        <dsp:cNvPr id="0" name=""/>
        <dsp:cNvSpPr/>
      </dsp:nvSpPr>
      <dsp:spPr>
        <a:xfrm rot="5400000">
          <a:off x="2979450" y="-2002603"/>
          <a:ext cx="902537" cy="491751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核心</a:t>
          </a:r>
          <a:r>
            <a:rPr lang="en-US" altLang="zh-CN" sz="1100" kern="1200" dirty="0"/>
            <a:t>Service</a:t>
          </a:r>
          <a:r>
            <a:rPr lang="zh-CN" altLang="en-US" sz="1100" kern="1200" dirty="0"/>
            <a:t>迁移</a:t>
          </a:r>
          <a:r>
            <a:rPr lang="en-US" altLang="zh-CN" sz="1100" kern="1200" dirty="0"/>
            <a:t>Go</a:t>
          </a:r>
          <a:r>
            <a:rPr lang="zh-CN" altLang="en-US" sz="1100" kern="1200" dirty="0"/>
            <a:t>技术栈，完善提交服务的流量迁移方案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推进</a:t>
          </a:r>
          <a:r>
            <a:rPr lang="en-US" altLang="zh-CN" sz="1100" kern="1200" dirty="0"/>
            <a:t>go</a:t>
          </a:r>
          <a:r>
            <a:rPr lang="zh-CN" altLang="en-US" sz="1100" kern="1200" dirty="0"/>
            <a:t>微服务</a:t>
          </a:r>
          <a:r>
            <a:rPr lang="en-US" altLang="zh-CN" sz="1100" kern="1200" dirty="0"/>
            <a:t>DevOps</a:t>
          </a:r>
          <a:r>
            <a:rPr lang="zh-CN" altLang="en-US" sz="1100" kern="1200" dirty="0"/>
            <a:t>建设，实现沙盒环境</a:t>
          </a:r>
          <a:r>
            <a:rPr lang="en-US" altLang="zh-CN" sz="1100" kern="1200" dirty="0"/>
            <a:t>&amp;</a:t>
          </a:r>
          <a:r>
            <a:rPr lang="zh-CN" altLang="en-US" sz="1100" kern="1200" dirty="0"/>
            <a:t>分级发布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调研手百体系业务数据打通方案</a:t>
          </a:r>
        </a:p>
      </dsp:txBody>
      <dsp:txXfrm rot="-5400000">
        <a:off x="971962" y="48943"/>
        <a:ext cx="4873455" cy="814421"/>
      </dsp:txXfrm>
    </dsp:sp>
    <dsp:sp modelId="{D2541687-A497-1843-BC6F-02296423CB51}">
      <dsp:nvSpPr>
        <dsp:cNvPr id="0" name=""/>
        <dsp:cNvSpPr/>
      </dsp:nvSpPr>
      <dsp:spPr>
        <a:xfrm rot="5400000">
          <a:off x="-208277" y="1456655"/>
          <a:ext cx="1388518" cy="9719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kern="1200" dirty="0"/>
            <a:t>2020</a:t>
          </a:r>
          <a:r>
            <a:rPr lang="zh-CN" altLang="en-US" sz="1100" kern="1200" dirty="0"/>
            <a:t> </a:t>
          </a:r>
          <a:r>
            <a:rPr lang="en-US" altLang="zh-CN" sz="1100" kern="1200" dirty="0"/>
            <a:t>Q1</a:t>
          </a:r>
          <a:endParaRPr lang="zh-CN" altLang="en-US" sz="1100" kern="1200" dirty="0"/>
        </a:p>
      </dsp:txBody>
      <dsp:txXfrm rot="-5400000">
        <a:off x="1" y="1734358"/>
        <a:ext cx="971962" cy="416556"/>
      </dsp:txXfrm>
    </dsp:sp>
    <dsp:sp modelId="{624FDF8E-FBF5-C14B-B9D7-3E12E90C7E7E}">
      <dsp:nvSpPr>
        <dsp:cNvPr id="0" name=""/>
        <dsp:cNvSpPr/>
      </dsp:nvSpPr>
      <dsp:spPr>
        <a:xfrm rot="5400000">
          <a:off x="2979450" y="-759110"/>
          <a:ext cx="902537" cy="491751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非核心服务</a:t>
          </a:r>
          <a:r>
            <a:rPr lang="en-US" altLang="zh-CN" sz="1100" kern="1200" dirty="0"/>
            <a:t>&amp;</a:t>
          </a:r>
          <a:r>
            <a:rPr lang="zh-CN" altLang="en-US" sz="1100" kern="1200" dirty="0"/>
            <a:t>核心</a:t>
          </a:r>
          <a:r>
            <a:rPr lang="en-US" altLang="zh-CN" sz="1100" kern="1200" dirty="0"/>
            <a:t>UI</a:t>
          </a:r>
          <a:r>
            <a:rPr lang="zh-CN" altLang="en-US" sz="1100" kern="1200" dirty="0"/>
            <a:t>迁移</a:t>
          </a:r>
          <a:r>
            <a:rPr lang="en-US" altLang="zh-CN" sz="1100" kern="1200" dirty="0"/>
            <a:t>Go</a:t>
          </a:r>
          <a:r>
            <a:rPr lang="zh-CN" altLang="en-US" sz="1100" kern="1200" dirty="0"/>
            <a:t>技术栈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小规模部署</a:t>
          </a:r>
          <a:r>
            <a:rPr lang="en-US" altLang="zh-CN" sz="1100" kern="1200" dirty="0"/>
            <a:t>Baidu</a:t>
          </a:r>
          <a:r>
            <a:rPr lang="zh-CN" altLang="en-US" sz="1100" kern="1200" dirty="0"/>
            <a:t> </a:t>
          </a:r>
          <a:r>
            <a:rPr lang="en-US" altLang="zh-CN" sz="1100" kern="1200" dirty="0"/>
            <a:t>Service</a:t>
          </a:r>
          <a:r>
            <a:rPr lang="zh-CN" altLang="en-US" sz="1100" kern="1200" dirty="0"/>
            <a:t> </a:t>
          </a:r>
          <a:r>
            <a:rPr lang="en-US" altLang="zh-CN" sz="1100" kern="1200" dirty="0"/>
            <a:t>Mesh</a:t>
          </a:r>
          <a:r>
            <a:rPr lang="zh-CN" altLang="en-US" sz="1100" kern="1200" dirty="0"/>
            <a:t>服务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业务监控迁移</a:t>
          </a:r>
          <a:r>
            <a:rPr lang="en-US" altLang="zh-CN" sz="1100" kern="1200" dirty="0"/>
            <a:t>SIA</a:t>
          </a:r>
          <a:r>
            <a:rPr lang="zh-CN" altLang="en-US" sz="1100" kern="1200" dirty="0"/>
            <a:t>，单实例故障自动屏蔽，接入华佗平台实现智能分析</a:t>
          </a:r>
        </a:p>
      </dsp:txBody>
      <dsp:txXfrm rot="-5400000">
        <a:off x="971962" y="1292436"/>
        <a:ext cx="4873455" cy="814421"/>
      </dsp:txXfrm>
    </dsp:sp>
    <dsp:sp modelId="{562E97C9-758D-7F48-A0F7-0D3D2B291AFC}">
      <dsp:nvSpPr>
        <dsp:cNvPr id="0" name=""/>
        <dsp:cNvSpPr/>
      </dsp:nvSpPr>
      <dsp:spPr>
        <a:xfrm rot="5400000">
          <a:off x="-208277" y="2700148"/>
          <a:ext cx="1388518" cy="9719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kern="1200" dirty="0"/>
            <a:t>2020</a:t>
          </a:r>
          <a:r>
            <a:rPr lang="zh-CN" altLang="en-US" sz="1100" kern="1200" dirty="0"/>
            <a:t> </a:t>
          </a:r>
          <a:r>
            <a:rPr lang="en-US" altLang="zh-CN" sz="1100" kern="1200" dirty="0"/>
            <a:t>Q2</a:t>
          </a:r>
          <a:endParaRPr lang="zh-CN" altLang="en-US" sz="1100" kern="1200" dirty="0"/>
        </a:p>
      </dsp:txBody>
      <dsp:txXfrm rot="-5400000">
        <a:off x="1" y="2977851"/>
        <a:ext cx="971962" cy="416556"/>
      </dsp:txXfrm>
    </dsp:sp>
    <dsp:sp modelId="{ABFAB44D-2382-264D-BF15-BBBAE3574AC0}">
      <dsp:nvSpPr>
        <dsp:cNvPr id="0" name=""/>
        <dsp:cNvSpPr/>
      </dsp:nvSpPr>
      <dsp:spPr>
        <a:xfrm rot="5400000">
          <a:off x="2979450" y="484382"/>
          <a:ext cx="902537" cy="491751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推进</a:t>
          </a:r>
          <a:r>
            <a:rPr lang="en-US" altLang="zh-CN" sz="1100" kern="1200" dirty="0"/>
            <a:t>PHP</a:t>
          </a:r>
          <a:r>
            <a:rPr lang="zh-CN" altLang="en-US" sz="1100" kern="1200" dirty="0"/>
            <a:t>业务迁移</a:t>
          </a:r>
          <a:r>
            <a:rPr lang="en-US" altLang="zh-CN" sz="1100" kern="1200" dirty="0"/>
            <a:t>Go</a:t>
          </a:r>
          <a:r>
            <a:rPr lang="zh-CN" altLang="en-US" sz="1100" kern="1200" dirty="0"/>
            <a:t>技术栈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100" kern="1200" dirty="0"/>
            <a:t>Go</a:t>
          </a:r>
          <a:r>
            <a:rPr lang="zh-CN" altLang="en-US" sz="1100" kern="1200" dirty="0"/>
            <a:t>服务部署</a:t>
          </a:r>
          <a:r>
            <a:rPr lang="en-US" altLang="zh-CN" sz="1100" kern="1200" dirty="0"/>
            <a:t>Baidu</a:t>
          </a:r>
          <a:r>
            <a:rPr lang="zh-CN" altLang="en-US" sz="1100" kern="1200" dirty="0"/>
            <a:t> </a:t>
          </a:r>
          <a:r>
            <a:rPr lang="en-US" altLang="zh-CN" sz="1100" kern="1200" dirty="0"/>
            <a:t>Service</a:t>
          </a:r>
          <a:r>
            <a:rPr lang="zh-CN" altLang="en-US" sz="1100" kern="1200" dirty="0"/>
            <a:t> </a:t>
          </a:r>
          <a:r>
            <a:rPr lang="en-US" altLang="zh-CN" sz="1100" kern="1200" dirty="0"/>
            <a:t>mesh</a:t>
          </a:r>
          <a:r>
            <a:rPr lang="zh-CN" altLang="en-US" sz="1100" kern="1200" dirty="0"/>
            <a:t>，调研上云方案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实现手百体系部分业务数据统一</a:t>
          </a:r>
        </a:p>
      </dsp:txBody>
      <dsp:txXfrm rot="-5400000">
        <a:off x="971962" y="2535928"/>
        <a:ext cx="4873455" cy="814421"/>
      </dsp:txXfrm>
    </dsp:sp>
    <dsp:sp modelId="{7BA79147-1698-1043-9726-17F997203952}">
      <dsp:nvSpPr>
        <dsp:cNvPr id="0" name=""/>
        <dsp:cNvSpPr/>
      </dsp:nvSpPr>
      <dsp:spPr>
        <a:xfrm rot="5400000">
          <a:off x="-208277" y="3943641"/>
          <a:ext cx="1388518" cy="9719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kern="1200" dirty="0"/>
            <a:t>2020</a:t>
          </a:r>
          <a:r>
            <a:rPr lang="zh-CN" altLang="en-US" sz="1100" kern="1200" dirty="0"/>
            <a:t> </a:t>
          </a:r>
          <a:r>
            <a:rPr lang="en-US" altLang="zh-CN" sz="1100" kern="1200" dirty="0"/>
            <a:t>Q3</a:t>
          </a:r>
          <a:endParaRPr lang="zh-CN" altLang="en-US" sz="1100" kern="1200" dirty="0"/>
        </a:p>
      </dsp:txBody>
      <dsp:txXfrm rot="-5400000">
        <a:off x="1" y="4221344"/>
        <a:ext cx="971962" cy="416556"/>
      </dsp:txXfrm>
    </dsp:sp>
    <dsp:sp modelId="{A7E0E17E-D831-2A49-B8EC-DA92A2262F31}">
      <dsp:nvSpPr>
        <dsp:cNvPr id="0" name=""/>
        <dsp:cNvSpPr/>
      </dsp:nvSpPr>
      <dsp:spPr>
        <a:xfrm rot="5400000">
          <a:off x="2979450" y="1727875"/>
          <a:ext cx="902537" cy="491751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制定上云方案，推动首批业务上云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大规模部署</a:t>
          </a:r>
          <a:r>
            <a:rPr lang="en-US" altLang="zh-CN" sz="1100" kern="1200" dirty="0"/>
            <a:t>Baidu</a:t>
          </a:r>
          <a:r>
            <a:rPr lang="zh-CN" altLang="en-US" sz="1100" kern="1200" dirty="0"/>
            <a:t> </a:t>
          </a:r>
          <a:r>
            <a:rPr lang="en-US" altLang="zh-CN" sz="1100" kern="1200" dirty="0"/>
            <a:t>Service</a:t>
          </a:r>
          <a:r>
            <a:rPr lang="zh-CN" altLang="en-US" sz="1100" kern="1200" dirty="0"/>
            <a:t> </a:t>
          </a:r>
          <a:r>
            <a:rPr lang="en-US" altLang="zh-CN" sz="1100" kern="1200" dirty="0"/>
            <a:t>Mesh</a:t>
          </a:r>
          <a:r>
            <a:rPr lang="zh-CN" altLang="en-US" sz="1100" kern="1200" dirty="0"/>
            <a:t>服务，核心服务的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100" kern="1200" dirty="0"/>
            <a:t>持续推进</a:t>
          </a:r>
          <a:r>
            <a:rPr lang="en-US" altLang="zh-CN" sz="1100" kern="1200" dirty="0"/>
            <a:t>PHP</a:t>
          </a:r>
          <a:r>
            <a:rPr lang="zh-CN" altLang="en-US" sz="1100" kern="1200" dirty="0"/>
            <a:t>业务迁移</a:t>
          </a:r>
          <a:r>
            <a:rPr lang="en-US" altLang="zh-CN" sz="1100" kern="1200" dirty="0"/>
            <a:t>Go</a:t>
          </a:r>
          <a:r>
            <a:rPr lang="zh-CN" altLang="en-US" sz="1100" kern="1200" dirty="0"/>
            <a:t>，预计</a:t>
          </a:r>
          <a:r>
            <a:rPr lang="en-US" altLang="zh-CN" sz="1100" kern="1200" dirty="0"/>
            <a:t>30%PHP</a:t>
          </a:r>
          <a:r>
            <a:rPr lang="zh-CN" altLang="en-US" sz="1100" kern="1200" dirty="0"/>
            <a:t>模块，</a:t>
          </a:r>
          <a:r>
            <a:rPr lang="en-US" altLang="zh-CN" sz="1100" kern="1200" dirty="0"/>
            <a:t>60%</a:t>
          </a:r>
          <a:r>
            <a:rPr lang="zh-CN" altLang="en-US" sz="1100" kern="1200" dirty="0"/>
            <a:t>的业务流量迁移到</a:t>
          </a:r>
          <a:r>
            <a:rPr lang="en-US" altLang="zh-CN" sz="1100" kern="1200" dirty="0"/>
            <a:t>Go</a:t>
          </a:r>
          <a:r>
            <a:rPr lang="zh-CN" altLang="en-US" sz="1100" kern="1200" dirty="0"/>
            <a:t>技术栈</a:t>
          </a:r>
        </a:p>
      </dsp:txBody>
      <dsp:txXfrm rot="-5400000">
        <a:off x="971962" y="3779421"/>
        <a:ext cx="4873455" cy="81442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DB57AF-21B3-6C45-A849-BC8D05DE561A}">
      <dsp:nvSpPr>
        <dsp:cNvPr id="0" name=""/>
        <dsp:cNvSpPr/>
      </dsp:nvSpPr>
      <dsp:spPr>
        <a:xfrm rot="5400000">
          <a:off x="3429806" y="-1418141"/>
          <a:ext cx="1103298" cy="3995786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CN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多语言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(PHP/GO/C++)</a:t>
          </a:r>
          <a:endParaRPr lang="zh-CN" sz="1400" b="1" i="0" kern="1200" dirty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CN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多协议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(HTTP/</a:t>
          </a:r>
          <a:r>
            <a:rPr lang="en-U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Nshead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/</a:t>
          </a:r>
          <a:r>
            <a:rPr lang="en-U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Websocket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)</a:t>
          </a:r>
          <a:endParaRPr lang="zh-CN" sz="1400" b="1" i="0" kern="1200" dirty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CN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多打包格式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(</a:t>
          </a:r>
          <a:r>
            <a:rPr lang="en-US" altLang="zh-Han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P</a:t>
          </a:r>
          <a:r>
            <a:rPr lang="en-U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rotobuf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/</a:t>
          </a:r>
          <a:r>
            <a:rPr lang="en-US" altLang="zh-Han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J</a:t>
          </a:r>
          <a:r>
            <a:rPr lang="en-U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son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/</a:t>
          </a:r>
          <a:r>
            <a:rPr lang="en-US" altLang="zh-Han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M</a:t>
          </a:r>
          <a:r>
            <a:rPr lang="en-US" sz="1400" b="1" i="0" kern="1200" dirty="0" err="1">
              <a:latin typeface="Lantinghei SC Demibold" panose="02000000000000000000" pitchFamily="2" charset="-122"/>
              <a:ea typeface="Lantinghei SC Demibold" panose="02000000000000000000" pitchFamily="2" charset="-122"/>
            </a:rPr>
            <a:t>cpack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)</a:t>
          </a:r>
          <a:endParaRPr lang="zh-CN" sz="1400" b="1" i="0" kern="1200" dirty="0">
            <a:latin typeface="Lantinghei SC Demibold" panose="02000000000000000000" pitchFamily="2" charset="-122"/>
            <a:ea typeface="Lantinghei SC Demibold" panose="02000000000000000000" pitchFamily="2" charset="-122"/>
          </a:endParaRPr>
        </a:p>
      </dsp:txBody>
      <dsp:txXfrm rot="-5400000">
        <a:off x="1983563" y="81961"/>
        <a:ext cx="3941927" cy="995580"/>
      </dsp:txXfrm>
    </dsp:sp>
    <dsp:sp modelId="{BC6F53D6-4379-AF44-8D33-E68EFF799410}">
      <dsp:nvSpPr>
        <dsp:cNvPr id="0" name=""/>
        <dsp:cNvSpPr/>
      </dsp:nvSpPr>
      <dsp:spPr>
        <a:xfrm>
          <a:off x="399561" y="1927"/>
          <a:ext cx="1584001" cy="1155648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异构技术栈</a:t>
          </a:r>
        </a:p>
      </dsp:txBody>
      <dsp:txXfrm>
        <a:off x="455975" y="58341"/>
        <a:ext cx="1471173" cy="1042820"/>
      </dsp:txXfrm>
    </dsp:sp>
    <dsp:sp modelId="{39C723AC-B176-E04C-B1D8-5D047ADF59AA}">
      <dsp:nvSpPr>
        <dsp:cNvPr id="0" name=""/>
        <dsp:cNvSpPr/>
      </dsp:nvSpPr>
      <dsp:spPr>
        <a:xfrm rot="5400000">
          <a:off x="3409659" y="-173255"/>
          <a:ext cx="1146373" cy="3998567"/>
        </a:xfrm>
        <a:prstGeom prst="round2SameRect">
          <a:avLst/>
        </a:prstGeom>
        <a:solidFill>
          <a:schemeClr val="accent4">
            <a:tint val="40000"/>
            <a:alpha val="90000"/>
            <a:hueOff val="-1972855"/>
            <a:satOff val="11079"/>
            <a:lumOff val="704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1972855"/>
              <a:satOff val="11079"/>
              <a:lumOff val="7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Hans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发现</a:t>
          </a: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Hans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降级</a:t>
          </a: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Hans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熔断</a:t>
          </a: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Hans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</a:t>
          </a: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限流</a:t>
          </a:r>
        </a:p>
      </dsp:txBody>
      <dsp:txXfrm rot="-5400000">
        <a:off x="1983563" y="1308802"/>
        <a:ext cx="3942606" cy="1034451"/>
      </dsp:txXfrm>
    </dsp:sp>
    <dsp:sp modelId="{E6DD2EBC-E08F-6243-8E67-1EB87F5D9F96}">
      <dsp:nvSpPr>
        <dsp:cNvPr id="0" name=""/>
        <dsp:cNvSpPr/>
      </dsp:nvSpPr>
      <dsp:spPr>
        <a:xfrm>
          <a:off x="399561" y="1264942"/>
          <a:ext cx="1584001" cy="1122172"/>
        </a:xfrm>
        <a:prstGeom prst="roundRect">
          <a:avLst/>
        </a:prstGeom>
        <a:solidFill>
          <a:schemeClr val="accent4">
            <a:hueOff val="-2232385"/>
            <a:satOff val="13449"/>
            <a:lumOff val="107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服务治理不统一</a:t>
          </a:r>
        </a:p>
      </dsp:txBody>
      <dsp:txXfrm>
        <a:off x="454341" y="1319722"/>
        <a:ext cx="1474441" cy="1012612"/>
      </dsp:txXfrm>
    </dsp:sp>
    <dsp:sp modelId="{7A2E6390-FD33-4649-B734-09AD92D2157D}">
      <dsp:nvSpPr>
        <dsp:cNvPr id="0" name=""/>
        <dsp:cNvSpPr/>
      </dsp:nvSpPr>
      <dsp:spPr>
        <a:xfrm rot="5400000">
          <a:off x="3435614" y="1042429"/>
          <a:ext cx="1103298" cy="4007401"/>
        </a:xfrm>
        <a:prstGeom prst="round2SameRect">
          <a:avLst/>
        </a:prstGeom>
        <a:solidFill>
          <a:schemeClr val="accent4">
            <a:tint val="40000"/>
            <a:alpha val="90000"/>
            <a:hueOff val="-3945710"/>
            <a:satOff val="22157"/>
            <a:lumOff val="1408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-3945710"/>
              <a:satOff val="22157"/>
              <a:lumOff val="140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CN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基础库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&amp;</a:t>
          </a:r>
          <a:r>
            <a:rPr lang="zh-CN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工具链</a:t>
          </a: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沙盒环境</a:t>
          </a:r>
        </a:p>
        <a:p>
          <a:pPr marL="36000" lvl="1" indent="-2772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itchFamily="2" charset="2"/>
            <a:buChar char="ü"/>
          </a:pPr>
          <a:r>
            <a:rPr lang="zh-CN" alt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分级发布</a:t>
          </a:r>
        </a:p>
      </dsp:txBody>
      <dsp:txXfrm rot="-5400000">
        <a:off x="1983563" y="2548340"/>
        <a:ext cx="3953542" cy="995580"/>
      </dsp:txXfrm>
    </dsp:sp>
    <dsp:sp modelId="{89FFC55E-2442-E64E-8505-9DB289DE6897}">
      <dsp:nvSpPr>
        <dsp:cNvPr id="0" name=""/>
        <dsp:cNvSpPr/>
      </dsp:nvSpPr>
      <dsp:spPr>
        <a:xfrm>
          <a:off x="399561" y="2495285"/>
          <a:ext cx="1584001" cy="1101690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Dev</a:t>
          </a:r>
          <a:r>
            <a:rPr lang="en-US" altLang="zh-Han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O</a:t>
          </a:r>
          <a:r>
            <a:rPr lang="en-US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ps</a:t>
          </a:r>
          <a:r>
            <a:rPr lang="zh-CN" sz="1400" b="1" i="0" kern="1200" dirty="0">
              <a:latin typeface="Lantinghei SC Demibold" panose="02000000000000000000" pitchFamily="2" charset="-122"/>
              <a:ea typeface="Lantinghei SC Demibold" panose="02000000000000000000" pitchFamily="2" charset="-122"/>
            </a:rPr>
            <a:t>不完善</a:t>
          </a:r>
        </a:p>
      </dsp:txBody>
      <dsp:txXfrm>
        <a:off x="453341" y="2549065"/>
        <a:ext cx="1476441" cy="9941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B23343-F2D9-46E0-924D-FAA4DBDF8FFE}" type="datetimeFigureOut">
              <a:rPr lang="zh-CN" altLang="en-US" smtClean="0"/>
              <a:pPr/>
              <a:t>2019/10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7A1BC2-C0CE-4ADC-9696-C74DC013C429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6162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D7ADD-A65F-4384-B80E-AA601445822E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738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6791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5357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5158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685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1430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6484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7A1BC2-C0CE-4ADC-9696-C74DC013C429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8624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3335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29833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582595"/>
          </a:xfrm>
          <a:prstGeom prst="rect">
            <a:avLst/>
          </a:prstGeom>
        </p:spPr>
        <p:txBody>
          <a:bodyPr lIns="91429" tIns="45715" rIns="91429" bIns="45715" anchor="ctr" anchorCtr="0"/>
          <a:lstStyle>
            <a:lvl1pPr algn="l">
              <a:defRPr sz="240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415662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691135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349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82153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08908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7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09408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301966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23644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44573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239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218529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191222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429452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0468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31603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547974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952044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7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50823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044252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399272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522363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7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670208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841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337651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08172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4091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819307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85614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0410303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7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448831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01179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75173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540845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593448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9475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03529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51681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95939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785178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232848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79582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/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5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836189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6403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501826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22847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5"/>
            </a:lvl2pPr>
            <a:lvl3pPr>
              <a:defRPr sz="1525"/>
            </a:lvl3pPr>
            <a:lvl4pPr>
              <a:defRPr sz="1335"/>
            </a:lvl4pPr>
            <a:lvl5pPr>
              <a:defRPr sz="1335"/>
            </a:lvl5pPr>
            <a:lvl6pPr>
              <a:defRPr sz="1715"/>
            </a:lvl6pPr>
            <a:lvl7pPr>
              <a:defRPr sz="1715"/>
            </a:lvl7pPr>
            <a:lvl8pPr>
              <a:defRPr sz="1715"/>
            </a:lvl8pPr>
            <a:lvl9pPr>
              <a:defRPr sz="1715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5"/>
            </a:lvl2pPr>
            <a:lvl3pPr>
              <a:defRPr sz="1525"/>
            </a:lvl3pPr>
            <a:lvl4pPr>
              <a:defRPr sz="1335"/>
            </a:lvl4pPr>
            <a:lvl5pPr>
              <a:defRPr sz="1335"/>
            </a:lvl5pPr>
            <a:lvl6pPr>
              <a:defRPr sz="1715"/>
            </a:lvl6pPr>
            <a:lvl7pPr>
              <a:defRPr sz="1715"/>
            </a:lvl7pPr>
            <a:lvl8pPr>
              <a:defRPr sz="1715"/>
            </a:lvl8pPr>
            <a:lvl9pPr>
              <a:defRPr sz="171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5" b="0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5" b="0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01421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5"/>
            </a:lvl2pPr>
            <a:lvl3pPr>
              <a:defRPr sz="1525"/>
            </a:lvl3pPr>
            <a:lvl4pPr>
              <a:defRPr sz="1335"/>
            </a:lvl4pPr>
            <a:lvl5pPr>
              <a:defRPr sz="1335"/>
            </a:lvl5pPr>
            <a:lvl6pPr>
              <a:defRPr sz="1525"/>
            </a:lvl6pPr>
            <a:lvl7pPr>
              <a:defRPr sz="1525"/>
            </a:lvl7pPr>
            <a:lvl8pPr>
              <a:defRPr sz="1525"/>
            </a:lvl8pPr>
            <a:lvl9pPr>
              <a:defRPr sz="1525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610" indent="0">
              <a:buNone/>
              <a:defRPr sz="1905" b="1"/>
            </a:lvl2pPr>
            <a:lvl3pPr marL="870585" indent="0">
              <a:buNone/>
              <a:defRPr sz="1715" b="1"/>
            </a:lvl3pPr>
            <a:lvl4pPr marL="1306195" indent="0">
              <a:buNone/>
              <a:defRPr sz="1525" b="1"/>
            </a:lvl4pPr>
            <a:lvl5pPr marL="1741805" indent="0">
              <a:buNone/>
              <a:defRPr sz="1525" b="1"/>
            </a:lvl5pPr>
            <a:lvl6pPr marL="2177415" indent="0">
              <a:buNone/>
              <a:defRPr sz="1525" b="1"/>
            </a:lvl6pPr>
            <a:lvl7pPr marL="2612390" indent="0">
              <a:buNone/>
              <a:defRPr sz="1525" b="1"/>
            </a:lvl7pPr>
            <a:lvl8pPr marL="3048000" indent="0">
              <a:buNone/>
              <a:defRPr sz="1525" b="1"/>
            </a:lvl8pPr>
            <a:lvl9pPr marL="3483610" indent="0">
              <a:buNone/>
              <a:defRPr sz="152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5"/>
            </a:lvl2pPr>
            <a:lvl3pPr>
              <a:defRPr sz="1525"/>
            </a:lvl3pPr>
            <a:lvl4pPr>
              <a:defRPr sz="1335"/>
            </a:lvl4pPr>
            <a:lvl5pPr>
              <a:defRPr sz="1335"/>
            </a:lvl5pPr>
            <a:lvl6pPr>
              <a:defRPr sz="1525"/>
            </a:lvl6pPr>
            <a:lvl7pPr>
              <a:defRPr sz="1525"/>
            </a:lvl7pPr>
            <a:lvl8pPr>
              <a:defRPr sz="1525"/>
            </a:lvl8pPr>
            <a:lvl9pPr>
              <a:defRPr sz="152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0672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568724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5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45676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464550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50775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75463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/>
          <p:cNvCxnSpPr/>
          <p:nvPr userDrawn="1"/>
        </p:nvCxnSpPr>
        <p:spPr>
          <a:xfrm>
            <a:off x="0" y="740701"/>
            <a:ext cx="12192000" cy="0"/>
          </a:xfrm>
          <a:prstGeom prst="line">
            <a:avLst/>
          </a:prstGeom>
          <a:ln w="22225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058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>
                <a:solidFill>
                  <a:prstClr val="black"/>
                </a:solidFill>
              </a:rPr>
              <a:pPr/>
              <a:t>2019/10/30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137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6657718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199935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473411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7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215854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457410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91935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304633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5124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75928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687340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8693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3601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635680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0"/>
            <a:ext cx="2844800" cy="365126"/>
          </a:xfrm>
          <a:prstGeom prst="rect">
            <a:avLst/>
          </a:prstGeom>
        </p:spPr>
        <p:txBody>
          <a:bodyPr lIns="89593" tIns="44796" rIns="89593" bIns="44796"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6"/>
          </a:xfrm>
          <a:prstGeom prst="rect">
            <a:avLst/>
          </a:prstGeom>
        </p:spPr>
        <p:txBody>
          <a:bodyPr lIns="89593" tIns="44796" rIns="89593" bIns="44796"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 lIns="89593" tIns="44796" rIns="89593" bIns="44796"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083629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4400" y="2667000"/>
            <a:ext cx="104648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29026" tIns="0" rIns="15483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60123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494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4993220" y="4114800"/>
            <a:ext cx="1102783" cy="15240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lIns="85671" tIns="42835" rIns="85671" bIns="42835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60123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721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0" y="990601"/>
            <a:ext cx="2540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096002" y="4114800"/>
            <a:ext cx="1102784" cy="15240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lIns="85671" tIns="42835" rIns="85671" bIns="42835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60123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72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7648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5232615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57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298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164255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189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5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75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87086" tIns="43543" rIns="87086" bIns="43543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67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578116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37031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3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1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56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5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765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57" y="2351314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04" y="2351314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41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58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39" y="1277258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14" b="0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1822384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61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39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5" b="1"/>
            </a:lvl1pPr>
            <a:lvl2pPr marL="435437" indent="0">
              <a:buNone/>
              <a:defRPr sz="1905" b="1"/>
            </a:lvl2pPr>
            <a:lvl3pPr marL="870875" indent="0">
              <a:buNone/>
              <a:defRPr sz="1714" b="1"/>
            </a:lvl3pPr>
            <a:lvl4pPr marL="1306312" indent="0">
              <a:buNone/>
              <a:defRPr sz="1524" b="1"/>
            </a:lvl4pPr>
            <a:lvl5pPr marL="1741749" indent="0">
              <a:buNone/>
              <a:defRPr sz="1524" b="1"/>
            </a:lvl5pPr>
            <a:lvl6pPr marL="2177186" indent="0">
              <a:buNone/>
              <a:defRPr sz="1524" b="1"/>
            </a:lvl6pPr>
            <a:lvl7pPr marL="2612624" indent="0">
              <a:buNone/>
              <a:defRPr sz="1524" b="1"/>
            </a:lvl7pPr>
            <a:lvl8pPr marL="3048061" indent="0">
              <a:buNone/>
              <a:defRPr sz="1524" b="1"/>
            </a:lvl8pPr>
            <a:lvl9pPr marL="3483498" indent="0">
              <a:buNone/>
              <a:defRPr sz="152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39" y="1493461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5"/>
            </a:lvl1pPr>
            <a:lvl2pPr>
              <a:defRPr sz="1714"/>
            </a:lvl2pPr>
            <a:lvl3pPr>
              <a:defRPr sz="1524"/>
            </a:lvl3pPr>
            <a:lvl4pPr>
              <a:defRPr sz="1333"/>
            </a:lvl4pPr>
            <a:lvl5pPr>
              <a:defRPr sz="1333"/>
            </a:lvl5pPr>
            <a:lvl6pPr>
              <a:defRPr sz="1524"/>
            </a:lvl6pPr>
            <a:lvl7pPr>
              <a:defRPr sz="1524"/>
            </a:lvl7pPr>
            <a:lvl8pPr>
              <a:defRPr sz="1524"/>
            </a:lvl8pPr>
            <a:lvl9pPr>
              <a:defRPr sz="1524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797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07108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38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35" y="2583543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4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871746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507545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2" y="6356358"/>
            <a:ext cx="2844801" cy="365125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9" y="6356358"/>
            <a:ext cx="3860800" cy="365125"/>
          </a:xfrm>
          <a:prstGeom prst="rect">
            <a:avLst/>
          </a:prstGeom>
        </p:spPr>
        <p:txBody>
          <a:bodyPr lIns="111008" tIns="55507" rIns="111008" bIns="55507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9" y="6356358"/>
            <a:ext cx="2844801" cy="365125"/>
          </a:xfrm>
          <a:prstGeom prst="rect">
            <a:avLst/>
          </a:prstGeom>
        </p:spPr>
        <p:txBody>
          <a:bodyPr lIns="111008" tIns="55507" rIns="111008" bIns="55507"/>
          <a:lstStyle/>
          <a:p>
            <a:fld id="{9C3BABE4-52A5-4B0F-907F-4727857335A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4730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8624428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38426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81" y="1507285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348510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470223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单子标题单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31879" y="1190172"/>
            <a:ext cx="11653089" cy="4950581"/>
          </a:xfrm>
          <a:ln>
            <a:solidFill>
              <a:srgbClr val="237DAE"/>
            </a:solidFill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ph type="body" idx="13"/>
          </p:nvPr>
        </p:nvSpPr>
        <p:spPr>
          <a:xfrm>
            <a:off x="231857" y="736320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110392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子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1141211" y="798286"/>
            <a:ext cx="728579" cy="5327952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eaVert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03597" y="798286"/>
            <a:ext cx="10655469" cy="5327952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标题 1"/>
          <p:cNvSpPr txBox="1">
            <a:spLocks/>
          </p:cNvSpPr>
          <p:nvPr userDrawn="1"/>
        </p:nvSpPr>
        <p:spPr>
          <a:xfrm>
            <a:off x="231856" y="24275"/>
            <a:ext cx="10465132" cy="528651"/>
          </a:xfrm>
          <a:prstGeom prst="rect">
            <a:avLst/>
          </a:prstGeom>
        </p:spPr>
        <p:txBody>
          <a:bodyPr vert="horz" lIns="86867" tIns="43434" rIns="86867" bIns="43434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zh-CN" altLang="en-US" sz="2600" b="1" dirty="0">
                <a:solidFill>
                  <a:prstClr val="white"/>
                </a:solidFill>
                <a:latin typeface="微软雅黑" pitchFamily="34" charset="-122"/>
              </a:rPr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843286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单子标题+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9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11107668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78"/>
            <a:ext cx="11107668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92811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12" y="6356048"/>
            <a:ext cx="2844431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48"/>
            <a:ext cx="3859508" cy="36588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58" y="6356048"/>
            <a:ext cx="2844431" cy="365881"/>
          </a:xfrm>
          <a:prstGeom prst="rect">
            <a:avLst/>
          </a:prstGeom>
        </p:spPr>
        <p:txBody>
          <a:bodyPr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76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185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5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76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50" y="5947185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524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28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14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779850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单内容&amp;底部双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内容占位符 12"/>
          <p:cNvSpPr>
            <a:spLocks noGrp="1"/>
          </p:cNvSpPr>
          <p:nvPr>
            <p:ph sz="quarter" idx="13"/>
          </p:nvPr>
        </p:nvSpPr>
        <p:spPr>
          <a:xfrm>
            <a:off x="549598" y="754749"/>
            <a:ext cx="11107668" cy="4107543"/>
          </a:xfrm>
          <a:ln>
            <a:solidFill>
              <a:srgbClr val="237DAE"/>
            </a:solidFill>
          </a:ln>
        </p:spPr>
        <p:txBody>
          <a:bodyPr/>
          <a:lstStyle>
            <a:lvl1pPr>
              <a:buClr>
                <a:srgbClr val="237DAE"/>
              </a:buClr>
              <a:defRPr/>
            </a:lvl1pPr>
            <a:lvl2pPr>
              <a:buClr>
                <a:srgbClr val="237DAE"/>
              </a:buClr>
              <a:defRPr/>
            </a:lvl2pPr>
            <a:lvl3pPr>
              <a:buClr>
                <a:srgbClr val="237DAE"/>
              </a:buClr>
              <a:defRPr/>
            </a:lvl3pPr>
            <a:lvl4pPr>
              <a:buClr>
                <a:srgbClr val="237DAE"/>
              </a:buClr>
              <a:defRPr/>
            </a:lvl4pPr>
            <a:lvl5pPr>
              <a:buClr>
                <a:srgbClr val="237DAE"/>
              </a:buClr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4"/>
          </p:nvPr>
        </p:nvSpPr>
        <p:spPr>
          <a:xfrm>
            <a:off x="549598" y="5413829"/>
            <a:ext cx="5485856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5"/>
          </p:nvPr>
        </p:nvSpPr>
        <p:spPr>
          <a:xfrm>
            <a:off x="549598" y="4934578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9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6165728" y="5413829"/>
            <a:ext cx="5491537" cy="726318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7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6165728" y="4934578"/>
            <a:ext cx="5485856" cy="4502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9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098452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顶部双子标题+文本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31874" y="2351336"/>
            <a:ext cx="5787460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1126" y="2351336"/>
            <a:ext cx="5789737" cy="377492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ph type="body" idx="13"/>
          </p:nvPr>
        </p:nvSpPr>
        <p:spPr>
          <a:xfrm>
            <a:off x="231857" y="779857"/>
            <a:ext cx="5765324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61" y="779857"/>
            <a:ext cx="5722065" cy="424845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4"/>
          </p:nvPr>
        </p:nvSpPr>
        <p:spPr>
          <a:xfrm>
            <a:off x="231857" y="1277260"/>
            <a:ext cx="5765324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00" b="0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5"/>
          </p:nvPr>
        </p:nvSpPr>
        <p:spPr>
          <a:xfrm>
            <a:off x="6193261" y="1277260"/>
            <a:ext cx="5722065" cy="985460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anchor="t">
            <a:normAutofit/>
          </a:bodyPr>
          <a:lstStyle>
            <a:lvl1pPr marL="0" indent="0">
              <a:buNone/>
              <a:defRPr sz="1700" b="0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945279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顶部双子标题&amp;底部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779841"/>
            <a:ext cx="5765324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31857" y="1493483"/>
            <a:ext cx="5765324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261" y="779841"/>
            <a:ext cx="5722065" cy="641048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 marL="0" indent="0">
              <a:buNone/>
              <a:defRPr sz="1900" b="1"/>
            </a:lvl1pPr>
            <a:lvl2pPr marL="434338" indent="0">
              <a:buNone/>
              <a:defRPr sz="1900" b="1"/>
            </a:lvl2pPr>
            <a:lvl3pPr marL="868693" indent="0">
              <a:buNone/>
              <a:defRPr sz="1700" b="1"/>
            </a:lvl3pPr>
            <a:lvl4pPr marL="1303038" indent="0">
              <a:buNone/>
              <a:defRPr sz="1600" b="1"/>
            </a:lvl4pPr>
            <a:lvl5pPr marL="1737385" indent="0">
              <a:buNone/>
              <a:defRPr sz="1600" b="1"/>
            </a:lvl5pPr>
            <a:lvl6pPr marL="2171729" indent="0">
              <a:buNone/>
              <a:defRPr sz="1600" b="1"/>
            </a:lvl6pPr>
            <a:lvl7pPr marL="2606075" indent="0">
              <a:buNone/>
              <a:defRPr sz="1600" b="1"/>
            </a:lvl7pPr>
            <a:lvl8pPr marL="3040417" indent="0">
              <a:buNone/>
              <a:defRPr sz="1600" b="1"/>
            </a:lvl8pPr>
            <a:lvl9pPr marL="3474765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261" y="1493483"/>
            <a:ext cx="5722065" cy="4690835"/>
          </a:xfrm>
          <a:ln>
            <a:solidFill>
              <a:srgbClr val="237DAE"/>
            </a:solidFill>
          </a:ln>
        </p:spPr>
        <p:txBody>
          <a:bodyPr>
            <a:normAutofit/>
          </a:bodyPr>
          <a:lstStyle>
            <a:lvl1pPr>
              <a:defRPr sz="19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9015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57" y="653747"/>
            <a:ext cx="5186951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内容占位符 8"/>
          <p:cNvSpPr>
            <a:spLocks noGrp="1"/>
          </p:cNvSpPr>
          <p:nvPr>
            <p:ph sz="quarter" idx="14"/>
          </p:nvPr>
        </p:nvSpPr>
        <p:spPr>
          <a:xfrm>
            <a:off x="231856" y="4513344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1" name="内容占位符 8"/>
          <p:cNvSpPr>
            <a:spLocks noGrp="1"/>
          </p:cNvSpPr>
          <p:nvPr>
            <p:ph sz="quarter" idx="15"/>
          </p:nvPr>
        </p:nvSpPr>
        <p:spPr>
          <a:xfrm>
            <a:off x="247057" y="2583544"/>
            <a:ext cx="5186951" cy="18862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5619294" y="9966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5619294" y="653752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8"/>
          </p:nvPr>
        </p:nvSpPr>
        <p:spPr>
          <a:xfrm>
            <a:off x="5619294" y="292700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6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5619294" y="2584152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7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5619294" y="4856195"/>
            <a:ext cx="6341546" cy="154339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14"/>
          <p:cNvSpPr>
            <a:spLocks noGrp="1"/>
          </p:cNvSpPr>
          <p:nvPr>
            <p:ph type="body" sz="quarter" idx="21"/>
          </p:nvPr>
        </p:nvSpPr>
        <p:spPr>
          <a:xfrm>
            <a:off x="5619294" y="4513338"/>
            <a:ext cx="6341546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3926354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四图版内容+子标题+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10334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246" y="6356070"/>
            <a:ext cx="3859508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280" y="6356070"/>
            <a:ext cx="2844431" cy="365881"/>
          </a:xfrm>
          <a:prstGeom prst="rect">
            <a:avLst/>
          </a:prstGeom>
        </p:spPr>
        <p:txBody>
          <a:bodyPr lIns="91210" tIns="45606" rIns="91210" bIns="45606"/>
          <a:lstStyle/>
          <a:p>
            <a:fld id="{0FB7EC70-51C2-4279-8B7A-78ABF2C09015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内容占位符 8"/>
          <p:cNvSpPr>
            <a:spLocks noGrp="1"/>
          </p:cNvSpPr>
          <p:nvPr>
            <p:ph sz="quarter" idx="13"/>
          </p:nvPr>
        </p:nvSpPr>
        <p:spPr>
          <a:xfrm>
            <a:off x="247035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文本占位符 14"/>
          <p:cNvSpPr>
            <a:spLocks noGrp="1"/>
          </p:cNvSpPr>
          <p:nvPr>
            <p:ph type="body" sz="quarter" idx="16"/>
          </p:nvPr>
        </p:nvSpPr>
        <p:spPr>
          <a:xfrm>
            <a:off x="231856" y="2882879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文本占位符 14"/>
          <p:cNvSpPr>
            <a:spLocks noGrp="1"/>
          </p:cNvSpPr>
          <p:nvPr>
            <p:ph type="body" sz="quarter" idx="17"/>
          </p:nvPr>
        </p:nvSpPr>
        <p:spPr>
          <a:xfrm>
            <a:off x="231856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19" name="内容占位符 8"/>
          <p:cNvSpPr>
            <a:spLocks noGrp="1"/>
          </p:cNvSpPr>
          <p:nvPr>
            <p:ph sz="quarter" idx="18"/>
          </p:nvPr>
        </p:nvSpPr>
        <p:spPr>
          <a:xfrm>
            <a:off x="231856" y="3718084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0" name="文本占位符 14"/>
          <p:cNvSpPr>
            <a:spLocks noGrp="1"/>
          </p:cNvSpPr>
          <p:nvPr>
            <p:ph type="body" sz="quarter" idx="19"/>
          </p:nvPr>
        </p:nvSpPr>
        <p:spPr>
          <a:xfrm>
            <a:off x="216678" y="5947207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1" name="文本占位符 14"/>
          <p:cNvSpPr>
            <a:spLocks noGrp="1"/>
          </p:cNvSpPr>
          <p:nvPr>
            <p:ph type="body" sz="quarter" idx="20"/>
          </p:nvPr>
        </p:nvSpPr>
        <p:spPr>
          <a:xfrm>
            <a:off x="216678" y="5604332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2" name="内容占位符 8"/>
          <p:cNvSpPr>
            <a:spLocks noGrp="1"/>
          </p:cNvSpPr>
          <p:nvPr>
            <p:ph sz="quarter" idx="21"/>
          </p:nvPr>
        </p:nvSpPr>
        <p:spPr>
          <a:xfrm>
            <a:off x="6132207" y="653747"/>
            <a:ext cx="5657492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3" name="文本占位符 14"/>
          <p:cNvSpPr>
            <a:spLocks noGrp="1"/>
          </p:cNvSpPr>
          <p:nvPr>
            <p:ph type="body" sz="quarter" idx="22"/>
          </p:nvPr>
        </p:nvSpPr>
        <p:spPr>
          <a:xfrm>
            <a:off x="6117029" y="2882879"/>
            <a:ext cx="5672670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4" name="文本占位符 14"/>
          <p:cNvSpPr>
            <a:spLocks noGrp="1"/>
          </p:cNvSpPr>
          <p:nvPr>
            <p:ph type="body" sz="quarter" idx="23"/>
          </p:nvPr>
        </p:nvSpPr>
        <p:spPr>
          <a:xfrm>
            <a:off x="6117029" y="2539999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  <p:sp>
        <p:nvSpPr>
          <p:cNvPr id="25" name="内容占位符 8"/>
          <p:cNvSpPr>
            <a:spLocks noGrp="1"/>
          </p:cNvSpPr>
          <p:nvPr>
            <p:ph sz="quarter" idx="24"/>
          </p:nvPr>
        </p:nvSpPr>
        <p:spPr>
          <a:xfrm>
            <a:off x="6117029" y="3718084"/>
            <a:ext cx="5672670" cy="1886252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6" name="文本占位符 14"/>
          <p:cNvSpPr>
            <a:spLocks noGrp="1"/>
          </p:cNvSpPr>
          <p:nvPr>
            <p:ph type="body" sz="quarter" idx="25"/>
          </p:nvPr>
        </p:nvSpPr>
        <p:spPr>
          <a:xfrm>
            <a:off x="6101872" y="5947207"/>
            <a:ext cx="5687849" cy="716687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normAutofit/>
          </a:bodyPr>
          <a:lstStyle>
            <a:lvl1pPr>
              <a:buClr>
                <a:srgbClr val="237DAE"/>
              </a:buClr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7" name="文本占位符 14"/>
          <p:cNvSpPr>
            <a:spLocks noGrp="1"/>
          </p:cNvSpPr>
          <p:nvPr>
            <p:ph type="body" sz="quarter" idx="26"/>
          </p:nvPr>
        </p:nvSpPr>
        <p:spPr>
          <a:xfrm>
            <a:off x="6101850" y="5604332"/>
            <a:ext cx="5672670" cy="342857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>
            <a:normAutofit/>
          </a:bodyPr>
          <a:lstStyle>
            <a:lvl1pPr>
              <a:buNone/>
              <a:defRPr sz="1700" b="1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477512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F:\2011工作\周报\xianghailong\img\bg_cnt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81" y="1507290"/>
            <a:ext cx="12589983" cy="5350741"/>
          </a:xfrm>
          <a:prstGeom prst="rect">
            <a:avLst/>
          </a:prstGeom>
          <a:noFill/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09581" y="1"/>
            <a:ext cx="10363200" cy="571480"/>
          </a:xfrm>
        </p:spPr>
        <p:txBody>
          <a:bodyPr>
            <a:noAutofit/>
          </a:bodyPr>
          <a:lstStyle>
            <a:lvl1pPr algn="l">
              <a:defRPr sz="32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4705513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08937" y="3491"/>
            <a:ext cx="3174126" cy="136634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4574"/>
              <a:endParaRPr lang="zh-CN" altLang="en-US" sz="2100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4574"/>
              <a:endParaRPr lang="zh-CN" altLang="en-US" sz="2100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510004"/>
            <a:ext cx="12191998" cy="1838037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1999" tIns="68400" rIns="102600" bIns="68400" anchor="ctr"/>
          <a:lstStyle/>
          <a:p>
            <a:pPr defTabSz="752689">
              <a:spcBef>
                <a:spcPct val="0"/>
              </a:spcBef>
              <a:defRPr/>
            </a:pPr>
            <a:endParaRPr lang="zh-CN" altLang="en-US" sz="3800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37335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914400" y="2667000"/>
            <a:ext cx="10464800" cy="1447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lIns="131156" tIns="0" rIns="157387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74358" fontAlgn="ctr">
              <a:spcBef>
                <a:spcPct val="0"/>
              </a:spcBef>
              <a:spcAft>
                <a:spcPct val="0"/>
              </a:spcAft>
              <a:defRPr/>
            </a:pPr>
            <a:endParaRPr lang="zh-CN" altLang="zh-CN" sz="4590" dirty="0">
              <a:solidFill>
                <a:srgbClr val="80808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4993219" y="4114800"/>
            <a:ext cx="1102783" cy="152400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743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721">
              <a:solidFill>
                <a:srgbClr val="000000"/>
              </a:solidFill>
            </a:endParaRPr>
          </a:p>
        </p:txBody>
      </p:sp>
      <p:pic>
        <p:nvPicPr>
          <p:cNvPr id="4" name="Picture 4" descr="logon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6000" y="990601"/>
            <a:ext cx="2540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/>
          </p:cNvSpPr>
          <p:nvPr/>
        </p:nvSpPr>
        <p:spPr bwMode="auto">
          <a:xfrm>
            <a:off x="6096001" y="4114800"/>
            <a:ext cx="1102784" cy="152400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defTabSz="874358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72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725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标题和内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4508937" y="3491"/>
            <a:ext cx="3174126" cy="136634"/>
            <a:chOff x="2971800" y="1458310"/>
            <a:chExt cx="2380594" cy="102476"/>
          </a:xfrm>
        </p:grpSpPr>
        <p:sp>
          <p:nvSpPr>
            <p:cNvPr id="10" name="矩形 9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7224"/>
              <a:endParaRPr lang="zh-CN" altLang="en-US" sz="2095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7224"/>
              <a:endParaRPr lang="zh-CN" altLang="en-US" sz="2095">
                <a:solidFill>
                  <a:prstClr val="white"/>
                </a:solidFill>
              </a:endParaRPr>
            </a:p>
          </p:txBody>
        </p:sp>
      </p:grpSp>
      <p:sp>
        <p:nvSpPr>
          <p:cNvPr id="5" name="矩形 4"/>
          <p:cNvSpPr/>
          <p:nvPr userDrawn="1"/>
        </p:nvSpPr>
        <p:spPr>
          <a:xfrm>
            <a:off x="1" y="2509982"/>
            <a:ext cx="12191998" cy="1838037"/>
          </a:xfrm>
          <a:prstGeom prst="rect">
            <a:avLst/>
          </a:prstGeom>
          <a:solidFill>
            <a:srgbClr val="1E82B4">
              <a:alpha val="92157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42857" tIns="68571" rIns="102857" bIns="68571" anchor="ctr"/>
          <a:lstStyle/>
          <a:p>
            <a:pPr defTabSz="754581">
              <a:spcBef>
                <a:spcPct val="0"/>
              </a:spcBef>
              <a:defRPr/>
            </a:pPr>
            <a:endParaRPr lang="zh-CN" altLang="en-US" sz="3810" kern="0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863434" y="3164674"/>
            <a:ext cx="10465132" cy="528651"/>
          </a:xfrm>
        </p:spPr>
        <p:txBody>
          <a:bodyPr/>
          <a:lstStyle>
            <a:lvl1pPr algn="ctr">
              <a:defRPr sz="4400" b="1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34627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2" y="6356350"/>
            <a:ext cx="2844800" cy="365126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6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259" y="6356049"/>
            <a:ext cx="2844431" cy="365881"/>
          </a:xfrm>
          <a:prstGeom prst="rect">
            <a:avLst/>
          </a:prstGeom>
        </p:spPr>
        <p:txBody>
          <a:bodyPr/>
          <a:lstStyle/>
          <a:p>
            <a:fld id="{D99619C8-A375-448C-891B-9999C6BE8E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763612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png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87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algn="ctr"/>
              <a:t>‹#›</a:t>
            </a:fld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906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  <p:sldLayoutId id="2147483678" r:id="rId11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896" y="896"/>
          <a:ext cx="896" cy="8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8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96" y="896"/>
                        <a:ext cx="896" cy="8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077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hdr="0" dt="0"/>
  <p:txStyles>
    <p:titleStyle>
      <a:lvl1pPr algn="ctr" defTabSz="306194" rtl="0" eaLnBrk="1" latinLnBrk="0" hangingPunct="1">
        <a:spcBef>
          <a:spcPct val="0"/>
        </a:spcBef>
        <a:buNone/>
        <a:defRPr sz="147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823" indent="-114823" algn="l" defTabSz="306194" rtl="0" eaLnBrk="1" latinLnBrk="0" hangingPunct="1">
        <a:spcBef>
          <a:spcPct val="20000"/>
        </a:spcBef>
        <a:buFont typeface="Arial" pitchFamily="34" charset="0"/>
        <a:buChar char="•"/>
        <a:defRPr sz="1072" kern="1200">
          <a:solidFill>
            <a:schemeClr val="tx1"/>
          </a:solidFill>
          <a:latin typeface="+mn-lt"/>
          <a:ea typeface="+mn-ea"/>
          <a:cs typeface="+mn-cs"/>
        </a:defRPr>
      </a:lvl1pPr>
      <a:lvl2pPr marL="248782" indent="-95685" algn="l" defTabSz="306194" rtl="0" eaLnBrk="1" latinLnBrk="0" hangingPunct="1">
        <a:spcBef>
          <a:spcPct val="20000"/>
        </a:spcBef>
        <a:buFont typeface="Arial" pitchFamily="34" charset="0"/>
        <a:buChar char="–"/>
        <a:defRPr sz="937" kern="1200">
          <a:solidFill>
            <a:schemeClr val="tx1"/>
          </a:solidFill>
          <a:latin typeface="+mn-lt"/>
          <a:ea typeface="+mn-ea"/>
          <a:cs typeface="+mn-cs"/>
        </a:defRPr>
      </a:lvl2pPr>
      <a:lvl3pPr marL="382742" indent="-76548" algn="l" defTabSz="306194" rtl="0" eaLnBrk="1" latinLnBrk="0" hangingPunct="1">
        <a:spcBef>
          <a:spcPct val="20000"/>
        </a:spcBef>
        <a:buFont typeface="Arial" pitchFamily="34" charset="0"/>
        <a:buChar char="•"/>
        <a:defRPr sz="804" kern="1200">
          <a:solidFill>
            <a:schemeClr val="tx1"/>
          </a:solidFill>
          <a:latin typeface="+mn-lt"/>
          <a:ea typeface="+mn-ea"/>
          <a:cs typeface="+mn-cs"/>
        </a:defRPr>
      </a:lvl3pPr>
      <a:lvl4pPr marL="535839" indent="-76548" algn="l" defTabSz="306194" rtl="0" eaLnBrk="1" latinLnBrk="0" hangingPunct="1">
        <a:spcBef>
          <a:spcPct val="20000"/>
        </a:spcBef>
        <a:buFont typeface="Arial" pitchFamily="34" charset="0"/>
        <a:buChar char="–"/>
        <a:defRPr sz="670" kern="1200">
          <a:solidFill>
            <a:schemeClr val="tx1"/>
          </a:solidFill>
          <a:latin typeface="+mn-lt"/>
          <a:ea typeface="+mn-ea"/>
          <a:cs typeface="+mn-cs"/>
        </a:defRPr>
      </a:lvl4pPr>
      <a:lvl5pPr marL="688936" indent="-76548" algn="l" defTabSz="306194" rtl="0" eaLnBrk="1" latinLnBrk="0" hangingPunct="1">
        <a:spcBef>
          <a:spcPct val="20000"/>
        </a:spcBef>
        <a:buFont typeface="Arial" pitchFamily="34" charset="0"/>
        <a:buChar char="»"/>
        <a:defRPr sz="670" kern="1200">
          <a:solidFill>
            <a:schemeClr val="tx1"/>
          </a:solidFill>
          <a:latin typeface="+mn-lt"/>
          <a:ea typeface="+mn-ea"/>
          <a:cs typeface="+mn-cs"/>
        </a:defRPr>
      </a:lvl5pPr>
      <a:lvl6pPr marL="842032" indent="-76548" algn="l" defTabSz="306194" rtl="0" eaLnBrk="1" latinLnBrk="0" hangingPunct="1">
        <a:spcBef>
          <a:spcPct val="20000"/>
        </a:spcBef>
        <a:buFont typeface="Arial" pitchFamily="34" charset="0"/>
        <a:buChar char="•"/>
        <a:defRPr sz="670" kern="1200">
          <a:solidFill>
            <a:schemeClr val="tx1"/>
          </a:solidFill>
          <a:latin typeface="+mn-lt"/>
          <a:ea typeface="+mn-ea"/>
          <a:cs typeface="+mn-cs"/>
        </a:defRPr>
      </a:lvl6pPr>
      <a:lvl7pPr marL="995129" indent="-76548" algn="l" defTabSz="306194" rtl="0" eaLnBrk="1" latinLnBrk="0" hangingPunct="1">
        <a:spcBef>
          <a:spcPct val="20000"/>
        </a:spcBef>
        <a:buFont typeface="Arial" pitchFamily="34" charset="0"/>
        <a:buChar char="•"/>
        <a:defRPr sz="670" kern="1200">
          <a:solidFill>
            <a:schemeClr val="tx1"/>
          </a:solidFill>
          <a:latin typeface="+mn-lt"/>
          <a:ea typeface="+mn-ea"/>
          <a:cs typeface="+mn-cs"/>
        </a:defRPr>
      </a:lvl7pPr>
      <a:lvl8pPr marL="1148226" indent="-76548" algn="l" defTabSz="306194" rtl="0" eaLnBrk="1" latinLnBrk="0" hangingPunct="1">
        <a:spcBef>
          <a:spcPct val="20000"/>
        </a:spcBef>
        <a:buFont typeface="Arial" pitchFamily="34" charset="0"/>
        <a:buChar char="•"/>
        <a:defRPr sz="670" kern="1200">
          <a:solidFill>
            <a:schemeClr val="tx1"/>
          </a:solidFill>
          <a:latin typeface="+mn-lt"/>
          <a:ea typeface="+mn-ea"/>
          <a:cs typeface="+mn-cs"/>
        </a:defRPr>
      </a:lvl8pPr>
      <a:lvl9pPr marL="1301322" indent="-76548" algn="l" defTabSz="306194" rtl="0" eaLnBrk="1" latinLnBrk="0" hangingPunct="1">
        <a:spcBef>
          <a:spcPct val="20000"/>
        </a:spcBef>
        <a:buFont typeface="Arial" pitchFamily="34" charset="0"/>
        <a:buChar char="•"/>
        <a:defRPr sz="6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1pPr>
      <a:lvl2pPr marL="153097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2pPr>
      <a:lvl3pPr marL="306194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3pPr>
      <a:lvl4pPr marL="459291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4pPr>
      <a:lvl5pPr marL="612387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5pPr>
      <a:lvl6pPr marL="765484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6pPr>
      <a:lvl7pPr marL="918580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7pPr>
      <a:lvl8pPr marL="1071677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8pPr>
      <a:lvl9pPr marL="1224775" algn="l" defTabSz="306194" rtl="0" eaLnBrk="1" latinLnBrk="0" hangingPunct="1">
        <a:defRPr sz="6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algn="ctr"/>
              <a:t>‹#›</a:t>
            </a:fld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83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/>
              <a:t>‹#›</a:t>
            </a:fld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263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/>
              <a:t>‹#›</a:t>
            </a:fld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364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/>
              <a:t>‹#›</a:t>
            </a:fld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23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4" r:id="rId13"/>
    <p:sldLayoutId id="2147483845" r:id="rId14"/>
  </p:sldLayoutIdLst>
  <p:hf hdr="0" ftr="0" dt="0"/>
  <p:txStyles>
    <p:titleStyle>
      <a:lvl1pPr algn="l" defTabSz="87058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390" indent="-326390" algn="l" defTabSz="87058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390" indent="-272415" algn="l" defTabSz="87058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390" indent="-217805" algn="l" defTabSz="87058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00" indent="-217805" algn="l" defTabSz="87058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610" indent="-217805" algn="l" defTabSz="87058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5220" indent="-217805" algn="l" defTabSz="87058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195" indent="-217805" algn="l" defTabSz="87058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805" indent="-217805" algn="l" defTabSz="87058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415" indent="-217805" algn="l" defTabSz="87058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610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0585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195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1805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415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2390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000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3610" algn="l" defTabSz="870585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/>
              <a:t>‹#›</a:t>
            </a:fld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667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429" r:id="rId12"/>
    <p:sldLayoutId id="2147484431" r:id="rId13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1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2"/>
            <a:ext cx="10465132" cy="528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57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34290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90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788" y="6502400"/>
            <a:ext cx="468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ctr"/>
              <a:t>‹#›</a:t>
            </a:fld>
            <a:endParaRPr lang="zh-CN" altLang="en-US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624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2" r:id="rId1"/>
    <p:sldLayoutId id="2147484213" r:id="rId2"/>
    <p:sldLayoutId id="2147484214" r:id="rId3"/>
    <p:sldLayoutId id="2147484215" r:id="rId4"/>
    <p:sldLayoutId id="2147484216" r:id="rId5"/>
    <p:sldLayoutId id="2147484217" r:id="rId6"/>
    <p:sldLayoutId id="2147484218" r:id="rId7"/>
    <p:sldLayoutId id="2147484219" r:id="rId8"/>
    <p:sldLayoutId id="2147484220" r:id="rId9"/>
    <p:sldLayoutId id="2147484221" r:id="rId10"/>
    <p:sldLayoutId id="2147484222" r:id="rId11"/>
    <p:sldLayoutId id="2147484223" r:id="rId12"/>
    <p:sldLayoutId id="2147484224" r:id="rId13"/>
  </p:sldLayoutIdLst>
  <p:hf hdr="0" ftr="0" dt="0"/>
  <p:txStyles>
    <p:titleStyle>
      <a:lvl1pPr algn="l" defTabSz="870875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5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1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524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333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:\2011工作\周报\xianghailong\img\bg_top.jpg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7"/>
            <a:ext cx="12192000" cy="857233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231856" y="24275"/>
            <a:ext cx="10465132" cy="528651"/>
          </a:xfrm>
          <a:prstGeom prst="rect">
            <a:avLst/>
          </a:prstGeom>
        </p:spPr>
        <p:txBody>
          <a:bodyPr vert="horz" lIns="91210" tIns="45606" rIns="91210" bIns="45606" rtlCol="0" anchor="ctr">
            <a:noAutofit/>
          </a:bodyPr>
          <a:lstStyle/>
          <a:p>
            <a:r>
              <a:rPr lang="zh-CN" altLang="en-US" dirty="0"/>
              <a:t>标题不小于</a:t>
            </a:r>
            <a:r>
              <a:rPr lang="en-US" altLang="zh-CN" dirty="0"/>
              <a:t>32</a:t>
            </a:r>
            <a:r>
              <a:rPr lang="zh-CN" altLang="en-US" dirty="0"/>
              <a:t>号字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31879" y="857212"/>
            <a:ext cx="11653089" cy="5269027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lIns="91210" tIns="45606" rIns="91210" bIns="45606" rtlCol="0">
            <a:normAutofit/>
          </a:bodyPr>
          <a:lstStyle/>
          <a:p>
            <a:pPr marL="342040" lvl="1">
              <a:buFontTx/>
              <a:buChar char="•"/>
              <a:defRPr/>
            </a:pPr>
            <a:r>
              <a:rPr lang="zh-CN" altLang="en-US" sz="2400" b="1" dirty="0">
                <a:cs typeface="+mn-cs"/>
              </a:rPr>
              <a:t>正文不小于</a:t>
            </a:r>
            <a:r>
              <a:rPr lang="en-US" altLang="zh-CN" sz="2400" b="1" dirty="0">
                <a:cs typeface="+mn-cs"/>
              </a:rPr>
              <a:t>24</a:t>
            </a:r>
            <a:r>
              <a:rPr lang="zh-CN" altLang="en-US" sz="2400" b="1" dirty="0">
                <a:cs typeface="+mn-cs"/>
              </a:rPr>
              <a:t>号字</a:t>
            </a:r>
            <a:endParaRPr lang="en-US" altLang="zh-CN" sz="2400" b="1" dirty="0">
              <a:cs typeface="+mn-cs"/>
            </a:endParaRPr>
          </a:p>
          <a:p>
            <a:pPr marL="34204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lvl="1">
              <a:defRPr/>
            </a:pPr>
            <a:r>
              <a:rPr lang="zh-CN" altLang="en-US" b="1" dirty="0"/>
              <a:t>正文内容不小于</a:t>
            </a:r>
            <a:r>
              <a:rPr lang="en-US" altLang="zh-CN" b="1" dirty="0"/>
              <a:t>20</a:t>
            </a:r>
            <a:r>
              <a:rPr lang="zh-CN" altLang="en-US" b="1" dirty="0"/>
              <a:t>号字</a:t>
            </a:r>
            <a:endParaRPr lang="en-US" altLang="zh-CN" b="1" dirty="0"/>
          </a:p>
          <a:p>
            <a:pPr marL="342040" lvl="1">
              <a:buFontTx/>
              <a:buChar char="•"/>
              <a:defRPr/>
            </a:pPr>
            <a:r>
              <a:rPr lang="zh-CN" altLang="en-US" sz="2400" b="1" dirty="0"/>
              <a:t>正文不小于</a:t>
            </a:r>
            <a:r>
              <a:rPr lang="en-US" altLang="zh-CN" sz="2400" b="1" dirty="0"/>
              <a:t>24</a:t>
            </a:r>
            <a:r>
              <a:rPr lang="zh-CN" altLang="en-US" sz="2400" b="1" dirty="0"/>
              <a:t>号字</a:t>
            </a:r>
            <a:endParaRPr lang="en-US" altLang="zh-CN" sz="2400" b="1" dirty="0"/>
          </a:p>
        </p:txBody>
      </p:sp>
      <p:sp>
        <p:nvSpPr>
          <p:cNvPr id="4" name="文本框 3"/>
          <p:cNvSpPr txBox="1"/>
          <p:nvPr userDrawn="1"/>
        </p:nvSpPr>
        <p:spPr>
          <a:xfrm>
            <a:off x="11636806" y="6502416"/>
            <a:ext cx="468000" cy="276769"/>
          </a:xfrm>
          <a:prstGeom prst="rect">
            <a:avLst/>
          </a:prstGeom>
          <a:noFill/>
        </p:spPr>
        <p:txBody>
          <a:bodyPr wrap="square" lIns="91210" tIns="45606" rIns="91210" bIns="45606" rtlCol="0">
            <a:spAutoFit/>
          </a:bodyPr>
          <a:lstStyle/>
          <a:p>
            <a:pPr algn="ctr"/>
            <a:fld id="{201194CE-DA41-4DF6-B68B-D435AE780EBD}" type="slidenum">
              <a:rPr lang="zh-CN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algn="ctr"/>
              <a:t>‹#›</a:t>
            </a:fld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787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  <p:sldLayoutId id="2147484446" r:id="rId13"/>
    <p:sldLayoutId id="2147484447" r:id="rId14"/>
    <p:sldLayoutId id="2147484449" r:id="rId15"/>
  </p:sldLayoutIdLst>
  <p:hf hdr="0" ftr="0" dt="0"/>
  <p:txStyles>
    <p:titleStyle>
      <a:lvl1pPr algn="l" defTabSz="868693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25758" indent="-325758" algn="l" defTabSz="868693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9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05812" indent="-271465" algn="l" defTabSz="868693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7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085864" indent="-217177" algn="l" defTabSz="868693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520208" indent="-217177" algn="l" defTabSz="868693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–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1954556" indent="-217177" algn="l" defTabSz="868693" rtl="0" eaLnBrk="1" latinLnBrk="0" hangingPunct="1">
        <a:spcBef>
          <a:spcPct val="20000"/>
        </a:spcBef>
        <a:buClr>
          <a:srgbClr val="237DAE"/>
        </a:buClr>
        <a:buFont typeface="Arial" pitchFamily="34" charset="0"/>
        <a:buChar char="»"/>
        <a:defRPr sz="1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388900" indent="-217177" algn="l" defTabSz="86869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23246" indent="-217177" algn="l" defTabSz="86869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57593" indent="-217177" algn="l" defTabSz="86869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91937" indent="-217177" algn="l" defTabSz="868693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4338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8693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3038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37385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1729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06075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40417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74765" algn="l" defTabSz="86869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矩形 44"/>
          <p:cNvSpPr/>
          <p:nvPr/>
        </p:nvSpPr>
        <p:spPr>
          <a:xfrm>
            <a:off x="945792" y="533319"/>
            <a:ext cx="11658296" cy="6557792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85671" tIns="42835" rIns="85671" bIns="42835" rtlCol="0" anchor="ctr"/>
          <a:lstStyle/>
          <a:p>
            <a:pPr algn="ctr" defTabSz="856696">
              <a:defRPr/>
            </a:pPr>
            <a:r>
              <a:rPr lang="zh-CN" altLang="en-US" sz="1721" kern="0" dirty="0">
                <a:solidFill>
                  <a:prstClr val="white"/>
                </a:solidFill>
                <a:latin typeface="Calibri"/>
                <a:ea typeface="宋体" panose="02010600030101010101" pitchFamily="2" charset="-122"/>
              </a:rPr>
              <a:t>      </a:t>
            </a:r>
          </a:p>
        </p:txBody>
      </p:sp>
      <p:grpSp>
        <p:nvGrpSpPr>
          <p:cNvPr id="46" name="组合 45"/>
          <p:cNvGrpSpPr/>
          <p:nvPr/>
        </p:nvGrpSpPr>
        <p:grpSpPr>
          <a:xfrm>
            <a:off x="4654603" y="152489"/>
            <a:ext cx="2882795" cy="128815"/>
            <a:chOff x="2971800" y="1458310"/>
            <a:chExt cx="2380594" cy="102476"/>
          </a:xfrm>
        </p:grpSpPr>
        <p:sp>
          <p:nvSpPr>
            <p:cNvPr id="47" name="矩形 46"/>
            <p:cNvSpPr/>
            <p:nvPr userDrawn="1"/>
          </p:nvSpPr>
          <p:spPr>
            <a:xfrm>
              <a:off x="2971800" y="1458310"/>
              <a:ext cx="1190297" cy="10247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56696">
                <a:defRPr/>
              </a:pPr>
              <a:endParaRPr lang="zh-CN" altLang="en-US" sz="1721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48" name="矩形 47"/>
            <p:cNvSpPr/>
            <p:nvPr userDrawn="1"/>
          </p:nvSpPr>
          <p:spPr>
            <a:xfrm>
              <a:off x="4162097" y="1458310"/>
              <a:ext cx="1190297" cy="102476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56696">
                <a:defRPr/>
              </a:pPr>
              <a:endParaRPr lang="zh-CN" altLang="en-US" sz="1721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sp>
        <p:nvSpPr>
          <p:cNvPr id="2" name="矩形 1"/>
          <p:cNvSpPr/>
          <p:nvPr/>
        </p:nvSpPr>
        <p:spPr>
          <a:xfrm>
            <a:off x="266851" y="1945672"/>
            <a:ext cx="11658298" cy="309817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671" tIns="42835" rIns="85671" bIns="42835" rtlCol="0" anchor="ctr"/>
          <a:lstStyle/>
          <a:p>
            <a:pPr algn="ctr"/>
            <a:r>
              <a:rPr lang="en-US" altLang="zh-Hans" sz="4800" dirty="0" err="1">
                <a:solidFill>
                  <a:schemeClr val="bg1">
                    <a:lumMod val="9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Sarasa UI SC" panose="020B0502040504020204" pitchFamily="34" charset="-122"/>
              </a:rPr>
              <a:t>Go&amp;PHP</a:t>
            </a:r>
            <a:r>
              <a:rPr lang="zh-Hans" altLang="en-US" sz="4800" dirty="0">
                <a:solidFill>
                  <a:schemeClr val="bg1">
                    <a:lumMod val="9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Sarasa UI SC" panose="020B0502040504020204" pitchFamily="34" charset="-122"/>
              </a:rPr>
              <a:t>服务测试差异性分析</a:t>
            </a:r>
            <a:endParaRPr lang="zh-CN" altLang="en-US" sz="4800" dirty="0">
              <a:solidFill>
                <a:schemeClr val="bg1">
                  <a:lumMod val="9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Sarasa UI SC" panose="020B0502040504020204" pitchFamily="34" charset="-122"/>
            </a:endParaRPr>
          </a:p>
          <a:p>
            <a:pPr algn="ctr" defTabSz="874358">
              <a:lnSpc>
                <a:spcPct val="150000"/>
              </a:lnSpc>
            </a:pPr>
            <a:r>
              <a:rPr lang="en-US" altLang="zh-CN" sz="2286" dirty="0">
                <a:solidFill>
                  <a:prstClr val="white"/>
                </a:solidFill>
                <a:latin typeface="微软雅黑" panose="020B0503020204020204" pitchFamily="34" charset="-122"/>
              </a:rPr>
              <a:t>2019</a:t>
            </a:r>
            <a:r>
              <a:rPr lang="zh-CN" altLang="en-US" sz="2286" dirty="0">
                <a:solidFill>
                  <a:prstClr val="white"/>
                </a:solidFill>
                <a:latin typeface="微软雅黑" panose="020B0503020204020204" pitchFamily="34" charset="-122"/>
              </a:rPr>
              <a:t>年</a:t>
            </a:r>
            <a:r>
              <a:rPr lang="en-US" altLang="zh-CN" sz="2286" dirty="0">
                <a:solidFill>
                  <a:prstClr val="white"/>
                </a:solidFill>
                <a:latin typeface="微软雅黑" panose="020B0503020204020204" pitchFamily="34" charset="-122"/>
              </a:rPr>
              <a:t>10</a:t>
            </a:r>
            <a:r>
              <a:rPr lang="zh-CN" altLang="en-US" sz="2286" dirty="0">
                <a:solidFill>
                  <a:prstClr val="white"/>
                </a:solidFill>
                <a:latin typeface="微软雅黑" panose="020B0503020204020204" pitchFamily="34" charset="-122"/>
              </a:rPr>
              <a:t>月</a:t>
            </a:r>
            <a:endParaRPr lang="en-US" altLang="zh-CN" sz="2286" dirty="0">
              <a:solidFill>
                <a:prstClr val="white"/>
              </a:solidFill>
              <a:latin typeface="微软雅黑" panose="020B0503020204020204" pitchFamily="34" charset="-122"/>
            </a:endParaRPr>
          </a:p>
        </p:txBody>
      </p:sp>
      <p:pic>
        <p:nvPicPr>
          <p:cNvPr id="8" name="Picture 5" descr="logonew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0652961" y="6248849"/>
            <a:ext cx="1066520" cy="327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66416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en-US" altLang="zh-Hans" sz="2400" b="0" dirty="0" err="1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PHP&amp;Golang</a:t>
            </a:r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对比</a:t>
            </a:r>
            <a:endParaRPr lang="zh-CN" altLang="en-US" sz="2400" b="0" dirty="0">
              <a:latin typeface="Microsoft YaHei" panose="020B0503020204020204" pitchFamily="34" charset="-122"/>
              <a:ea typeface="Microsoft YaHei" panose="020B0503020204020204" pitchFamily="34" charset="-122"/>
              <a:sym typeface="Microsoft YaHei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6965933-1570-5A43-B68A-DC956AC3E63A}"/>
              </a:ext>
            </a:extLst>
          </p:cNvPr>
          <p:cNvSpPr/>
          <p:nvPr/>
        </p:nvSpPr>
        <p:spPr>
          <a:xfrm>
            <a:off x="84828" y="772449"/>
            <a:ext cx="5887092" cy="3759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-342900">
              <a:lnSpc>
                <a:spcPct val="11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en-US" altLang="zh-CN" sz="24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CN" sz="2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81057" lvl="2" indent="-34290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语言特性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代码开源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语法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简洁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学习成本低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routine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轻量级线程，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语言层支持并发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支持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C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V1.8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后性能大幅提升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效率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静态语言，</a:t>
            </a:r>
            <a:r>
              <a:rPr lang="zh-CN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执行效率高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与</a:t>
            </a:r>
            <a:r>
              <a:rPr lang="en-US" altLang="zh-CN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C++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相比低</a:t>
            </a:r>
            <a:r>
              <a:rPr lang="en-US" altLang="zh-CN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20%</a:t>
            </a: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调试成本较高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框架与生态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厂内开发框架</a:t>
            </a:r>
            <a:r>
              <a:rPr lang="en-US" altLang="zh-CN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DP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（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非稳定成熟版本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）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框架丰富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Web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框架、日志、存储、中间件等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Docker/Kubernetes/CNCF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2062A5E-C400-704A-84EC-A3DA3B7827EA}"/>
              </a:ext>
            </a:extLst>
          </p:cNvPr>
          <p:cNvSpPr/>
          <p:nvPr/>
        </p:nvSpPr>
        <p:spPr>
          <a:xfrm>
            <a:off x="6096000" y="772449"/>
            <a:ext cx="6096000" cy="3759491"/>
          </a:xfrm>
          <a:prstGeom prst="rect">
            <a:avLst/>
          </a:prstGeom>
        </p:spPr>
        <p:txBody>
          <a:bodyPr>
            <a:spAutoFit/>
          </a:bodyPr>
          <a:lstStyle/>
          <a:p>
            <a:pPr marL="400050" lvl="1" indent="-342900">
              <a:lnSpc>
                <a:spcPct val="11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en-US" altLang="zh-Hans" sz="2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  <a:endParaRPr lang="en-US" altLang="zh-CN" sz="2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81057" lvl="2" indent="-34290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语言特性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代码开源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语法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简洁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学习成本低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完善的</a:t>
            </a:r>
            <a:r>
              <a:rPr lang="en-US" altLang="zh-Han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API</a:t>
            </a: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支持面向对象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效率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动态语言，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执行效率低</a:t>
            </a:r>
            <a:endParaRPr lang="en-US" altLang="zh-Hans" sz="1400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开发效率极高，脚本语言无需关注内存泄漏等问题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调试成本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低，改动即生效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框架与生态</a:t>
            </a:r>
            <a:endParaRPr lang="en-US" altLang="zh-CN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成熟经历大量实践的</a:t>
            </a:r>
            <a:r>
              <a:rPr lang="en-US" altLang="zh-Han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ODP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框架</a:t>
            </a: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DevOps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工具链成熟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  <p:graphicFrame>
        <p:nvGraphicFramePr>
          <p:cNvPr id="10" name="图示 9">
            <a:extLst>
              <a:ext uri="{FF2B5EF4-FFF2-40B4-BE49-F238E27FC236}">
                <a16:creationId xmlns:a16="http://schemas.microsoft.com/office/drawing/2014/main" id="{150016A1-5F16-B64F-8171-E5BF77374D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864788"/>
              </p:ext>
            </p:extLst>
          </p:nvPr>
        </p:nvGraphicFramePr>
        <p:xfrm>
          <a:off x="3254405" y="6002536"/>
          <a:ext cx="5435029" cy="750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CED80B7F-3BE0-0940-9CA1-5A27A21BA35D}"/>
              </a:ext>
            </a:extLst>
          </p:cNvPr>
          <p:cNvSpPr txBox="1"/>
          <p:nvPr/>
        </p:nvSpPr>
        <p:spPr>
          <a:xfrm>
            <a:off x="84828" y="4531940"/>
            <a:ext cx="10912603" cy="1685077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742950" lvl="2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业界动态</a:t>
            </a:r>
            <a:endParaRPr lang="en-US" altLang="zh-CN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5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6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今日头条开始使用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重构后端的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Feed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流服务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8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5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超过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0%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流量是跑在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构建的服务上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8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9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 ，腾讯宣布正式开源微服务框架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Tars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 </a:t>
            </a:r>
            <a:r>
              <a:rPr lang="en-US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lang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版本 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Tars-Go</a:t>
            </a:r>
            <a:r>
              <a:rPr lang="zh-CN" altLang="en-US" sz="1400" b="1" dirty="0">
                <a:solidFill>
                  <a:schemeClr val="bg2">
                    <a:lumMod val="50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其并发性能比 </a:t>
            </a:r>
            <a:r>
              <a:rPr lang="en-US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RPC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高 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5 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倍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11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知乎核心服务全面迁移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节省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0%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器资源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19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4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月，滴滴核心框架与工具链使用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开发实现，有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1500+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模块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00+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实例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1000+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 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开发者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1178387" lvl="3" indent="-285750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ü"/>
            </a:pPr>
            <a:endParaRPr lang="en-US" altLang="zh-CN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8453936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zh-Hans" altLang="en-US" sz="2400" dirty="0">
                <a:solidFill>
                  <a:srgbClr val="FFFF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sym typeface="Microsoft YaHei"/>
              </a:rPr>
              <a:t>公司使用情况</a:t>
            </a:r>
            <a:r>
              <a:rPr lang="en-US" altLang="zh-Hans" sz="2400" dirty="0">
                <a:solidFill>
                  <a:srgbClr val="FFFF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sym typeface="Microsoft YaHei"/>
              </a:rPr>
              <a:t>&amp;</a:t>
            </a:r>
            <a:r>
              <a:rPr lang="zh-Hans" altLang="en-US" sz="2400" dirty="0">
                <a:solidFill>
                  <a:srgbClr val="FFFF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sym typeface="Microsoft YaHei"/>
              </a:rPr>
              <a:t>贴吧规划</a:t>
            </a:r>
            <a:endParaRPr lang="zh-CN" altLang="en-US" sz="1800" dirty="0">
              <a:latin typeface="Lantinghei SC Demibold" panose="02000000000000000000" pitchFamily="2" charset="-122"/>
              <a:ea typeface="Lantinghei SC Demibold" panose="02000000000000000000" pitchFamily="2" charset="-122"/>
              <a:sym typeface="Microsoft YaHei"/>
            </a:endParaRPr>
          </a:p>
        </p:txBody>
      </p:sp>
      <p:graphicFrame>
        <p:nvGraphicFramePr>
          <p:cNvPr id="4" name="图示 3">
            <a:extLst>
              <a:ext uri="{FF2B5EF4-FFF2-40B4-BE49-F238E27FC236}">
                <a16:creationId xmlns:a16="http://schemas.microsoft.com/office/drawing/2014/main" id="{5C641515-171C-C34D-825B-17239E1E44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164034"/>
              </p:ext>
            </p:extLst>
          </p:nvPr>
        </p:nvGraphicFramePr>
        <p:xfrm>
          <a:off x="5974303" y="1054859"/>
          <a:ext cx="5889476" cy="51287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6167B5E7-31FF-4045-A472-A58965235F84}"/>
              </a:ext>
            </a:extLst>
          </p:cNvPr>
          <p:cNvSpPr/>
          <p:nvPr/>
        </p:nvSpPr>
        <p:spPr>
          <a:xfrm>
            <a:off x="351692" y="4699245"/>
            <a:ext cx="5449556" cy="148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贴吧业务规划</a:t>
            </a:r>
            <a:endParaRPr lang="en-US" altLang="zh-CN" sz="20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2020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年底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30%PHP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模块，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60%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业务流量迁移到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微服务技术体系建立。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贴吧服务端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80%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同学使用</a:t>
            </a:r>
            <a:r>
              <a:rPr lang="en-US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语言开发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CDDF2FC-C93B-EB40-87C2-1B023C439B44}"/>
              </a:ext>
            </a:extLst>
          </p:cNvPr>
          <p:cNvSpPr txBox="1"/>
          <p:nvPr/>
        </p:nvSpPr>
        <p:spPr>
          <a:xfrm>
            <a:off x="351692" y="852333"/>
            <a:ext cx="3433953" cy="3844579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indent="-285750">
              <a:lnSpc>
                <a:spcPct val="150000"/>
              </a:lnSpc>
              <a:buClr>
                <a:schemeClr val="accent1"/>
              </a:buClr>
              <a:buFont typeface="Wingdings" charset="2"/>
              <a:buChar char="l"/>
            </a:pP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公司内部使用</a:t>
            </a:r>
            <a:r>
              <a:rPr lang="en-US" altLang="zh-Han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部门</a:t>
            </a:r>
            <a:endParaRPr lang="en-US" altLang="zh-Hans" sz="20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度秘在线架构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搜索运维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百度</a:t>
            </a:r>
            <a:r>
              <a:rPr lang="en-US" altLang="zh-Han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APP</a:t>
            </a: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技术平台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贴吧研发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个人云研发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CN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国际化产品研发中心（深圳）</a:t>
            </a:r>
            <a:endParaRPr lang="en-US" altLang="zh-CN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区块链业务部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内容生态</a:t>
            </a:r>
            <a:r>
              <a:rPr lang="en-US" altLang="zh-Han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B</a:t>
            </a:r>
            <a:r>
              <a:rPr lang="zh-Hans" altLang="en-US" sz="1600" b="1" dirty="0">
                <a:solidFill>
                  <a:schemeClr val="tx1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端研发部</a:t>
            </a:r>
            <a:endParaRPr kumimoji="1"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 indent="-28575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kumimoji="1"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…</a:t>
            </a:r>
            <a:endParaRPr lang="en-US" altLang="zh-Hans" sz="1600" b="1" dirty="0">
              <a:solidFill>
                <a:schemeClr val="tx1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93742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zh-Hans" altLang="en-US" sz="2400" dirty="0">
                <a:solidFill>
                  <a:srgbClr val="FFFF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sym typeface="Microsoft YaHei"/>
              </a:rPr>
              <a:t>编译</a:t>
            </a:r>
            <a:r>
              <a:rPr lang="en-US" altLang="zh-Hans" sz="2400" dirty="0">
                <a:solidFill>
                  <a:srgbClr val="FFFF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sym typeface="Microsoft YaHei"/>
              </a:rPr>
              <a:t>&amp;</a:t>
            </a:r>
            <a:r>
              <a:rPr lang="zh-Hans" altLang="en-US" sz="2400" dirty="0">
                <a:solidFill>
                  <a:srgbClr val="FFFF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sym typeface="Microsoft YaHei"/>
              </a:rPr>
              <a:t>环境部署差异</a:t>
            </a:r>
            <a:endParaRPr lang="zh-CN" altLang="en-US" sz="1800" dirty="0">
              <a:latin typeface="Lantinghei SC Demibold" panose="02000000000000000000" pitchFamily="2" charset="-122"/>
              <a:ea typeface="Lantinghei SC Demibold" panose="02000000000000000000" pitchFamily="2" charset="-122"/>
              <a:sym typeface="Microsoft YaHei"/>
            </a:endParaRPr>
          </a:p>
        </p:txBody>
      </p:sp>
      <p:sp>
        <p:nvSpPr>
          <p:cNvPr id="16" name="内容占位符 4">
            <a:extLst>
              <a:ext uri="{FF2B5EF4-FFF2-40B4-BE49-F238E27FC236}">
                <a16:creationId xmlns:a16="http://schemas.microsoft.com/office/drawing/2014/main" id="{24C594CF-C0B7-F549-973E-67A559B93A55}"/>
              </a:ext>
            </a:extLst>
          </p:cNvPr>
          <p:cNvSpPr txBox="1">
            <a:spLocks/>
          </p:cNvSpPr>
          <p:nvPr/>
        </p:nvSpPr>
        <p:spPr>
          <a:xfrm>
            <a:off x="457200" y="875116"/>
            <a:ext cx="5109587" cy="5656313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编译</a:t>
            </a:r>
            <a:endParaRPr lang="en-US" altLang="zh-CN" sz="2000" b="1" dirty="0">
              <a:solidFill>
                <a:srgbClr val="FF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动态类型脚本语言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解释执行，无需编译</a:t>
            </a:r>
            <a:endParaRPr lang="en-US" altLang="zh-Hans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9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Hans" sz="1609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静态类型编译语言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需编译为二进制文件执行</a:t>
            </a:r>
            <a:endParaRPr lang="en-US" altLang="zh-CN" sz="199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Hans" altLang="en-US" sz="20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部署（线下环境）</a:t>
            </a:r>
            <a:endParaRPr lang="en-US" altLang="zh-CN" sz="20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en-US" altLang="zh-Han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ORP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部署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OTP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沙盒环境</a:t>
            </a:r>
            <a:endParaRPr lang="en-US" altLang="zh-Hans" sz="1400" b="1" dirty="0"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en-US" altLang="zh-Han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FIS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打包部署模块代码</a:t>
            </a:r>
            <a:endParaRPr lang="en-US" altLang="zh-Hans" sz="1400" b="1" dirty="0"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手动拷贝（</a:t>
            </a:r>
            <a:r>
              <a:rPr lang="en-US" altLang="zh-Hans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scp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、</a:t>
            </a:r>
            <a:r>
              <a:rPr lang="en-US" altLang="zh-Hans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rz</a:t>
            </a:r>
            <a:r>
              <a:rPr lang="en-US" altLang="zh-Han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/</a:t>
            </a:r>
            <a:r>
              <a:rPr lang="en-US" altLang="zh-Hans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sz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）部署</a:t>
            </a:r>
            <a:endParaRPr lang="en-US" altLang="zh-Hans" sz="1400" b="1" dirty="0"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9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Hans" sz="1609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本地编译后部署二进制文件</a:t>
            </a:r>
            <a:endParaRPr lang="en-US" altLang="zh-Hans" sz="1400" b="1" dirty="0"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en-US" altLang="zh-Han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Agile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流水线编译，下载二进制文件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</p:txBody>
      </p:sp>
      <p:sp>
        <p:nvSpPr>
          <p:cNvPr id="27" name="内容占位符 4">
            <a:extLst>
              <a:ext uri="{FF2B5EF4-FFF2-40B4-BE49-F238E27FC236}">
                <a16:creationId xmlns:a16="http://schemas.microsoft.com/office/drawing/2014/main" id="{494970A2-09DE-BE47-8BFD-42E141CAECEF}"/>
              </a:ext>
            </a:extLst>
          </p:cNvPr>
          <p:cNvSpPr txBox="1">
            <a:spLocks/>
          </p:cNvSpPr>
          <p:nvPr/>
        </p:nvSpPr>
        <p:spPr>
          <a:xfrm>
            <a:off x="7219565" y="1384159"/>
            <a:ext cx="4234542" cy="20783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7360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改动即生效，线下测试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插桩便捷</a:t>
            </a:r>
            <a:endParaRPr lang="en-US" altLang="zh-Hans" sz="1400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indent="-27360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lang</a:t>
            </a:r>
            <a:endParaRPr lang="en-US" altLang="zh-CN" sz="16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改动后需重新编译，若无配套编译环境，线下测试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插桩困难</a:t>
            </a:r>
            <a:endParaRPr lang="en-US" altLang="zh-CN" sz="1400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4AE1E48A-ED47-C449-BD4B-35ABBD75FBD0}"/>
              </a:ext>
            </a:extLst>
          </p:cNvPr>
          <p:cNvGrpSpPr/>
          <p:nvPr/>
        </p:nvGrpSpPr>
        <p:grpSpPr>
          <a:xfrm>
            <a:off x="5630148" y="1775206"/>
            <a:ext cx="1038330" cy="648120"/>
            <a:chOff x="5634614" y="1694820"/>
            <a:chExt cx="1038330" cy="648120"/>
          </a:xfrm>
        </p:grpSpPr>
        <p:sp>
          <p:nvSpPr>
            <p:cNvPr id="31" name="右箭头 30">
              <a:extLst>
                <a:ext uri="{FF2B5EF4-FFF2-40B4-BE49-F238E27FC236}">
                  <a16:creationId xmlns:a16="http://schemas.microsoft.com/office/drawing/2014/main" id="{D9A8DED9-C471-184E-9A02-29B35612215B}"/>
                </a:ext>
              </a:extLst>
            </p:cNvPr>
            <p:cNvSpPr/>
            <p:nvPr/>
          </p:nvSpPr>
          <p:spPr>
            <a:xfrm>
              <a:off x="5634614" y="1910861"/>
              <a:ext cx="1038330" cy="432079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 dirty="0">
                <a:solidFill>
                  <a:schemeClr val="tx2">
                    <a:lumMod val="7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</p:txBody>
        </p:sp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BF0C51FA-3C73-464F-A7AA-4ED5204DE8BD}"/>
                </a:ext>
              </a:extLst>
            </p:cNvPr>
            <p:cNvSpPr txBox="1"/>
            <p:nvPr/>
          </p:nvSpPr>
          <p:spPr>
            <a:xfrm>
              <a:off x="5711456" y="1694820"/>
              <a:ext cx="747320" cy="276999"/>
            </a:xfrm>
            <a:prstGeom prst="rect">
              <a:avLst/>
            </a:prstGeom>
            <a:noFill/>
            <a:ln w="9525">
              <a:noFill/>
              <a:prstDash val="sysDash"/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l"/>
              <a:r>
                <a:rPr kumimoji="1" lang="en-US" altLang="zh-Hans" sz="1200" b="1" dirty="0">
                  <a:solidFill>
                    <a:schemeClr val="tx2">
                      <a:lumMod val="75000"/>
                    </a:schemeClr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QA</a:t>
              </a:r>
              <a:r>
                <a:rPr kumimoji="1" lang="zh-Hans" altLang="en-US" sz="1200" b="1" dirty="0">
                  <a:solidFill>
                    <a:schemeClr val="tx2">
                      <a:lumMod val="75000"/>
                    </a:schemeClr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影响</a:t>
              </a:r>
              <a:endParaRPr kumimoji="1" lang="zh-CN" altLang="en-US" sz="1200" b="1" dirty="0">
                <a:solidFill>
                  <a:schemeClr val="tx2">
                    <a:lumMod val="7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</p:txBody>
        </p:sp>
      </p:grpSp>
      <p:sp>
        <p:nvSpPr>
          <p:cNvPr id="32" name="内容占位符 4">
            <a:extLst>
              <a:ext uri="{FF2B5EF4-FFF2-40B4-BE49-F238E27FC236}">
                <a16:creationId xmlns:a16="http://schemas.microsoft.com/office/drawing/2014/main" id="{7D484B91-1AA6-7440-9F38-681BBC5924DD}"/>
              </a:ext>
            </a:extLst>
          </p:cNvPr>
          <p:cNvSpPr txBox="1">
            <a:spLocks/>
          </p:cNvSpPr>
          <p:nvPr/>
        </p:nvSpPr>
        <p:spPr>
          <a:xfrm>
            <a:off x="7240415" y="3633310"/>
            <a:ext cx="4234542" cy="238240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7360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成熟的部署工具链和线下环境，支持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一键化操作</a:t>
            </a:r>
            <a:endParaRPr lang="en-US" altLang="zh-Hans" sz="1400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indent="-27360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CN" sz="16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666758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zh-CN" altLang="zh-CN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依赖编译环境，</a:t>
            </a:r>
            <a:r>
              <a:rPr lang="zh-CN" altLang="zh-CN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暂无可用部署工具和可复用的线下环境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281A9B51-4AD0-2E43-A6B8-57CB6FC9200D}"/>
              </a:ext>
            </a:extLst>
          </p:cNvPr>
          <p:cNvGrpSpPr/>
          <p:nvPr/>
        </p:nvGrpSpPr>
        <p:grpSpPr>
          <a:xfrm>
            <a:off x="5630148" y="4399284"/>
            <a:ext cx="1038330" cy="648120"/>
            <a:chOff x="5634614" y="1694820"/>
            <a:chExt cx="1038330" cy="648120"/>
          </a:xfrm>
        </p:grpSpPr>
        <p:sp>
          <p:nvSpPr>
            <p:cNvPr id="35" name="右箭头 34">
              <a:extLst>
                <a:ext uri="{FF2B5EF4-FFF2-40B4-BE49-F238E27FC236}">
                  <a16:creationId xmlns:a16="http://schemas.microsoft.com/office/drawing/2014/main" id="{56870917-052F-0746-ABE1-982C3750D4CB}"/>
                </a:ext>
              </a:extLst>
            </p:cNvPr>
            <p:cNvSpPr/>
            <p:nvPr/>
          </p:nvSpPr>
          <p:spPr>
            <a:xfrm>
              <a:off x="5634614" y="1910861"/>
              <a:ext cx="1038330" cy="432079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 dirty="0">
                <a:solidFill>
                  <a:schemeClr val="tx2">
                    <a:lumMod val="7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E97A46E1-EAD5-544B-A2DE-D901AFA4C02A}"/>
                </a:ext>
              </a:extLst>
            </p:cNvPr>
            <p:cNvSpPr txBox="1"/>
            <p:nvPr/>
          </p:nvSpPr>
          <p:spPr>
            <a:xfrm>
              <a:off x="5711456" y="1694820"/>
              <a:ext cx="747320" cy="276999"/>
            </a:xfrm>
            <a:prstGeom prst="rect">
              <a:avLst/>
            </a:prstGeom>
            <a:noFill/>
            <a:ln w="9525">
              <a:noFill/>
              <a:prstDash val="sysDash"/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l"/>
              <a:r>
                <a:rPr kumimoji="1" lang="en-US" altLang="zh-Hans" sz="1200" b="1" dirty="0">
                  <a:solidFill>
                    <a:schemeClr val="tx2">
                      <a:lumMod val="75000"/>
                    </a:schemeClr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QA</a:t>
              </a:r>
              <a:r>
                <a:rPr kumimoji="1" lang="zh-Hans" altLang="en-US" sz="1200" b="1" dirty="0">
                  <a:solidFill>
                    <a:schemeClr val="tx2">
                      <a:lumMod val="75000"/>
                    </a:schemeClr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影响</a:t>
              </a:r>
              <a:endParaRPr kumimoji="1" lang="zh-CN" altLang="en-US" sz="1200" b="1" dirty="0">
                <a:solidFill>
                  <a:schemeClr val="tx2">
                    <a:lumMod val="7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160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测试方案</a:t>
            </a:r>
            <a:r>
              <a:rPr lang="en-US" altLang="zh-Han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&amp;</a:t>
            </a:r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测试工具</a:t>
            </a:r>
            <a:endParaRPr lang="zh-CN" altLang="en-US" sz="1800" b="0" dirty="0">
              <a:latin typeface="Microsoft YaHei" panose="020B0503020204020204" pitchFamily="34" charset="-122"/>
              <a:ea typeface="Microsoft YaHei" panose="020B0503020204020204" pitchFamily="34" charset="-122"/>
              <a:sym typeface="Microsoft YaHei"/>
            </a:endParaRPr>
          </a:p>
        </p:txBody>
      </p:sp>
      <p:sp>
        <p:nvSpPr>
          <p:cNvPr id="11" name="内容占位符 4">
            <a:extLst>
              <a:ext uri="{FF2B5EF4-FFF2-40B4-BE49-F238E27FC236}">
                <a16:creationId xmlns:a16="http://schemas.microsoft.com/office/drawing/2014/main" id="{CF224794-6AE2-0245-9EAD-BEADDB1EC93A}"/>
              </a:ext>
            </a:extLst>
          </p:cNvPr>
          <p:cNvSpPr txBox="1">
            <a:spLocks/>
          </p:cNvSpPr>
          <p:nvPr/>
        </p:nvSpPr>
        <p:spPr>
          <a:xfrm>
            <a:off x="275428" y="1839074"/>
            <a:ext cx="5427435" cy="5147353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en-US" altLang="zh-Hans" sz="18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CodeReview</a:t>
            </a:r>
            <a:endParaRPr lang="en-US" altLang="zh-Hans" sz="20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Hans" sz="1809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指针传值问题</a:t>
            </a:r>
            <a:endParaRPr lang="en-US" altLang="zh-Hans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en" altLang="zh-CN" sz="1400" b="1" dirty="0" err="1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routine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阻塞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和</a:t>
            </a:r>
            <a:r>
              <a:rPr lang="zh-Hans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内存</a:t>
            </a:r>
            <a:r>
              <a:rPr lang="zh-CN" altLang="en-US" sz="14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泄露</a:t>
            </a:r>
            <a:endParaRPr lang="en-US" altLang="zh-CN" sz="14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并发读写时数据安全性</a:t>
            </a:r>
            <a:endParaRPr lang="en-US" altLang="zh-Hans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Hans" altLang="en-US" sz="18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接口测试</a:t>
            </a:r>
            <a:r>
              <a:rPr lang="en-US" altLang="zh-Hans" sz="18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&amp;</a:t>
            </a:r>
            <a:r>
              <a:rPr lang="zh-Hans" altLang="en-US" sz="18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功能测试</a:t>
            </a:r>
            <a:endParaRPr lang="en-US" altLang="zh-Hans" sz="18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381008" lvl="1" indent="0">
              <a:lnSpc>
                <a:spcPct val="150000"/>
              </a:lnSpc>
              <a:buClr>
                <a:schemeClr val="accent1"/>
              </a:buClr>
              <a:buNone/>
            </a:pP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接口测试</a:t>
            </a: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语言无关性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均返回</a:t>
            </a:r>
            <a:r>
              <a:rPr lang="en-US" altLang="zh-Hans" sz="14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json</a:t>
            </a:r>
            <a:r>
              <a:rPr lang="zh-Hans" altLang="en-US" sz="14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或其他序列化格式</a:t>
            </a:r>
            <a:endParaRPr lang="en-US" altLang="zh-Hans" sz="14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en-US" altLang="zh-Hans" sz="1791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Json</a:t>
            </a:r>
            <a:r>
              <a:rPr lang="zh-Hans" altLang="en-US" sz="18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返回</a:t>
            </a:r>
            <a:r>
              <a:rPr lang="zh-Hans" altLang="en-US" sz="1791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值差异</a:t>
            </a:r>
            <a:endParaRPr lang="en-US" altLang="zh-Hans" sz="1791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marL="816445" lvl="2" indent="0">
              <a:lnSpc>
                <a:spcPct val="150000"/>
              </a:lnSpc>
              <a:buClr>
                <a:schemeClr val="accent1"/>
              </a:buClr>
              <a:buNone/>
            </a:pPr>
            <a:r>
              <a:rPr lang="en-US" altLang="zh-Hans" sz="141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Json</a:t>
            </a:r>
            <a:r>
              <a:rPr lang="zh-Hans" altLang="en-US" sz="141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序列化按照</a:t>
            </a:r>
            <a:r>
              <a:rPr lang="en-US" altLang="zh-Han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array</a:t>
            </a:r>
            <a:r>
              <a:rPr lang="zh-Hans" altLang="en-U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顺序</a:t>
            </a:r>
            <a:r>
              <a:rPr lang="zh-Hans" altLang="en-US" sz="141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返回</a:t>
            </a:r>
            <a:endParaRPr lang="en-US" altLang="zh-Hans" sz="141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 err="1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Hans" sz="1600" b="1" dirty="0">
              <a:solidFill>
                <a:srgbClr val="00000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816445" lvl="2" indent="0">
              <a:lnSpc>
                <a:spcPct val="150000"/>
              </a:lnSpc>
              <a:buClr>
                <a:schemeClr val="accent1"/>
              </a:buClr>
              <a:buNone/>
            </a:pPr>
            <a:r>
              <a:rPr lang="zh-Hans" altLang="en-US" sz="141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序列化时会根据</a:t>
            </a:r>
            <a:r>
              <a:rPr lang="en-US" altLang="zh-Hans" sz="141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map</a:t>
            </a:r>
            <a:r>
              <a:rPr lang="zh-Hans" altLang="en-US" sz="1410" b="1" dirty="0">
                <a:solidFill>
                  <a:srgbClr val="00000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内</a:t>
            </a:r>
            <a:r>
              <a:rPr lang="en-US" altLang="zh-Han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key</a:t>
            </a:r>
            <a:r>
              <a:rPr lang="zh-Hans" altLang="en-U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值进行排序</a:t>
            </a:r>
            <a:endParaRPr lang="en-US" altLang="zh-Hans" sz="1410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5BA0E646-214B-A442-916B-4C256032060F}"/>
              </a:ext>
            </a:extLst>
          </p:cNvPr>
          <p:cNvGrpSpPr/>
          <p:nvPr/>
        </p:nvGrpSpPr>
        <p:grpSpPr>
          <a:xfrm>
            <a:off x="5974302" y="2422887"/>
            <a:ext cx="6015664" cy="3919897"/>
            <a:chOff x="5974302" y="2505079"/>
            <a:chExt cx="6015664" cy="3919897"/>
          </a:xfrm>
        </p:grpSpPr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755DD100-8937-934E-8BAF-453F82F6E74C}"/>
                </a:ext>
              </a:extLst>
            </p:cNvPr>
            <p:cNvGrpSpPr/>
            <p:nvPr/>
          </p:nvGrpSpPr>
          <p:grpSpPr>
            <a:xfrm>
              <a:off x="5974302" y="2505079"/>
              <a:ext cx="2930607" cy="3919897"/>
              <a:chOff x="5974302" y="2505079"/>
              <a:chExt cx="2930607" cy="3919897"/>
            </a:xfrm>
          </p:grpSpPr>
          <p:pic>
            <p:nvPicPr>
              <p:cNvPr id="13" name="图片 12">
                <a:extLst>
                  <a:ext uri="{FF2B5EF4-FFF2-40B4-BE49-F238E27FC236}">
                    <a16:creationId xmlns:a16="http://schemas.microsoft.com/office/drawing/2014/main" id="{533DB1EF-FB34-744E-BED2-89055CE378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302" y="2897099"/>
                <a:ext cx="2930607" cy="3527877"/>
              </a:xfrm>
              <a:prstGeom prst="rect">
                <a:avLst/>
              </a:prstGeom>
            </p:spPr>
          </p:pic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8CF38A49-3857-F14A-AB55-676D43D0E280}"/>
                  </a:ext>
                </a:extLst>
              </p:cNvPr>
              <p:cNvSpPr txBox="1"/>
              <p:nvPr/>
            </p:nvSpPr>
            <p:spPr>
              <a:xfrm>
                <a:off x="7140288" y="2505079"/>
                <a:ext cx="593432" cy="3385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Hans" sz="1600" dirty="0">
                    <a:solidFill>
                      <a:schemeClr val="tx2">
                        <a:lumMod val="75000"/>
                      </a:schemeClr>
                    </a:solidFill>
                    <a:latin typeface="+mn-ea"/>
                  </a:rPr>
                  <a:t>PHP</a:t>
                </a:r>
                <a:endParaRPr kumimoji="1" lang="zh-CN" altLang="en-US" sz="1400" dirty="0">
                  <a:solidFill>
                    <a:schemeClr val="tx2">
                      <a:lumMod val="75000"/>
                    </a:schemeClr>
                  </a:solidFill>
                  <a:latin typeface="+mn-ea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0A0CC74-8FAC-0245-AF27-74882E7ED26B}"/>
                </a:ext>
              </a:extLst>
            </p:cNvPr>
            <p:cNvGrpSpPr/>
            <p:nvPr/>
          </p:nvGrpSpPr>
          <p:grpSpPr>
            <a:xfrm>
              <a:off x="8994576" y="2505446"/>
              <a:ext cx="2995390" cy="3919530"/>
              <a:chOff x="8994576" y="2505446"/>
              <a:chExt cx="2995390" cy="3919530"/>
            </a:xfrm>
          </p:grpSpPr>
          <p:pic>
            <p:nvPicPr>
              <p:cNvPr id="15" name="图片 14">
                <a:extLst>
                  <a:ext uri="{FF2B5EF4-FFF2-40B4-BE49-F238E27FC236}">
                    <a16:creationId xmlns:a16="http://schemas.microsoft.com/office/drawing/2014/main" id="{45A17828-110D-CA48-B723-10DA2182FF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94576" y="2900987"/>
                <a:ext cx="2995390" cy="3523989"/>
              </a:xfrm>
              <a:prstGeom prst="rect">
                <a:avLst/>
              </a:prstGeom>
            </p:spPr>
          </p:pic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502D7601-4A73-3C48-901C-F674492146D9}"/>
                  </a:ext>
                </a:extLst>
              </p:cNvPr>
              <p:cNvSpPr txBox="1"/>
              <p:nvPr/>
            </p:nvSpPr>
            <p:spPr>
              <a:xfrm>
                <a:off x="10045674" y="2505446"/>
                <a:ext cx="893193" cy="3385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Hans" sz="1600" dirty="0" err="1">
                    <a:solidFill>
                      <a:schemeClr val="tx2">
                        <a:lumMod val="75000"/>
                      </a:schemeClr>
                    </a:solidFill>
                    <a:latin typeface="+mn-ea"/>
                  </a:rPr>
                  <a:t>Golang</a:t>
                </a:r>
                <a:endParaRPr kumimoji="1" lang="zh-CN" altLang="en-US" sz="1400" dirty="0">
                  <a:solidFill>
                    <a:schemeClr val="tx2">
                      <a:lumMod val="75000"/>
                    </a:schemeClr>
                  </a:solidFill>
                  <a:latin typeface="+mn-ea"/>
                </a:endParaRPr>
              </a:p>
            </p:txBody>
          </p:sp>
        </p:grpSp>
      </p:grpSp>
      <p:pic>
        <p:nvPicPr>
          <p:cNvPr id="26" name="图片 25">
            <a:extLst>
              <a:ext uri="{FF2B5EF4-FFF2-40B4-BE49-F238E27FC236}">
                <a16:creationId xmlns:a16="http://schemas.microsoft.com/office/drawing/2014/main" id="{54F7B84D-A2E5-FC4B-A94D-98C0CFEB82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454" y="727073"/>
            <a:ext cx="10939343" cy="1420694"/>
          </a:xfrm>
          <a:prstGeom prst="rect">
            <a:avLst/>
          </a:prstGeom>
        </p:spPr>
      </p:pic>
      <p:sp>
        <p:nvSpPr>
          <p:cNvPr id="27" name="圆角矩形标注 26">
            <a:extLst>
              <a:ext uri="{FF2B5EF4-FFF2-40B4-BE49-F238E27FC236}">
                <a16:creationId xmlns:a16="http://schemas.microsoft.com/office/drawing/2014/main" id="{BDCABE56-C0A4-BF4F-ABE5-9BED28FDEA51}"/>
              </a:ext>
            </a:extLst>
          </p:cNvPr>
          <p:cNvSpPr/>
          <p:nvPr/>
        </p:nvSpPr>
        <p:spPr>
          <a:xfrm>
            <a:off x="3950159" y="2060330"/>
            <a:ext cx="1469205" cy="842013"/>
          </a:xfrm>
          <a:prstGeom prst="wedgeRoundRectCallout">
            <a:avLst>
              <a:gd name="adj1" fmla="val -39714"/>
              <a:gd name="adj2" fmla="val 68601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Hans" altLang="en-US" dirty="0">
                <a:solidFill>
                  <a:srgbClr val="FF5A50"/>
                </a:solidFill>
              </a:rPr>
              <a:t>依赖经验</a:t>
            </a:r>
            <a:endParaRPr kumimoji="1" lang="zh-CN" altLang="en-US" dirty="0">
              <a:solidFill>
                <a:srgbClr val="FF5A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193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测试方案</a:t>
            </a:r>
            <a:r>
              <a:rPr lang="en-US" altLang="zh-Han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&amp;</a:t>
            </a:r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测试工具</a:t>
            </a:r>
            <a:endParaRPr lang="zh-CN" altLang="en-US" sz="2400" b="0" dirty="0">
              <a:solidFill>
                <a:srgbClr val="FFFF00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/>
            </a:endParaRPr>
          </a:p>
        </p:txBody>
      </p:sp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6091531"/>
              </p:ext>
            </p:extLst>
          </p:nvPr>
        </p:nvGraphicFramePr>
        <p:xfrm>
          <a:off x="6396353" y="661398"/>
          <a:ext cx="525145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内容占位符 4">
            <a:extLst>
              <a:ext uri="{FF2B5EF4-FFF2-40B4-BE49-F238E27FC236}">
                <a16:creationId xmlns:a16="http://schemas.microsoft.com/office/drawing/2014/main" id="{5B4745B7-7331-534D-9871-1A695723F933}"/>
              </a:ext>
            </a:extLst>
          </p:cNvPr>
          <p:cNvSpPr txBox="1">
            <a:spLocks/>
          </p:cNvSpPr>
          <p:nvPr/>
        </p:nvSpPr>
        <p:spPr>
          <a:xfrm>
            <a:off x="234332" y="770560"/>
            <a:ext cx="6162021" cy="60001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26578" indent="-32657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07586" indent="-272148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71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088593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•"/>
              <a:defRPr sz="1524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524030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–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1959468" indent="-217719" algn="l" defTabSz="870875" rtl="0" eaLnBrk="1" latinLnBrk="0" hangingPunct="1">
              <a:spcBef>
                <a:spcPct val="20000"/>
              </a:spcBef>
              <a:buClr>
                <a:srgbClr val="237DAE"/>
              </a:buClr>
              <a:buFont typeface="Arial" pitchFamily="34" charset="0"/>
              <a:buChar char="»"/>
              <a:defRPr sz="1333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394905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342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5780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217" indent="-217719" algn="l" defTabSz="8708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Hans" alt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单元测试</a:t>
            </a:r>
            <a:endParaRPr lang="en-US" altLang="zh-Hans" sz="18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809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619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单测依赖</a:t>
            </a:r>
            <a:r>
              <a:rPr lang="en-US" altLang="zh-Hans" sz="1619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Test</a:t>
            </a:r>
            <a:r>
              <a:rPr lang="zh-Hans" altLang="en-US" sz="1619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框架，</a:t>
            </a:r>
            <a:r>
              <a:rPr lang="zh-Hans" altLang="en-US" sz="1619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编写成本较高</a:t>
            </a:r>
            <a:endParaRPr lang="en-US" altLang="zh-Hans" sz="1619" b="1" dirty="0">
              <a:solidFill>
                <a:srgbClr val="FF5A50"/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Hans" sz="1809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标准库集成单元测试</a:t>
            </a:r>
            <a:r>
              <a:rPr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编译工具链天然支持（</a:t>
            </a:r>
            <a:r>
              <a:rPr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</a:t>
            </a:r>
            <a:r>
              <a:rPr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 </a:t>
            </a:r>
            <a:r>
              <a:rPr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test</a:t>
            </a:r>
            <a:r>
              <a:rPr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）</a:t>
            </a:r>
            <a:endParaRPr lang="en-US" altLang="zh-Hans" sz="14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2">
              <a:lnSpc>
                <a:spcPct val="150000"/>
              </a:lnSpc>
              <a:buClr>
                <a:schemeClr val="accent1"/>
              </a:buClr>
            </a:pPr>
            <a:r>
              <a:rPr lang="en-US" altLang="zh-Hans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tests</a:t>
            </a:r>
            <a:r>
              <a:rPr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/</a:t>
            </a:r>
            <a:r>
              <a:rPr lang="en-US" altLang="zh-Hans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cov</a:t>
            </a:r>
            <a:r>
              <a:rPr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等工具极大降低单测编写成本</a:t>
            </a:r>
            <a:endParaRPr lang="en-US" altLang="zh-Hans" sz="18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l"/>
            </a:pPr>
            <a:r>
              <a:rPr lang="zh-Hans" altLang="en-US" sz="1791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性能测试</a:t>
            </a:r>
            <a:endParaRPr lang="en-US" altLang="zh-Hans" sz="1791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HP</a:t>
            </a:r>
          </a:p>
          <a:p>
            <a:pPr marL="1102195" lvl="2" indent="-285750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缺少基准测试手段</a:t>
            </a:r>
            <a:endParaRPr lang="en-US" altLang="zh-Hans" sz="141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02195" lvl="2" indent="-285750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依赖</a:t>
            </a:r>
            <a:r>
              <a:rPr lang="en-US" altLang="zh-Hans" sz="141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Xhprof</a:t>
            </a: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进行性能调优</a:t>
            </a:r>
            <a:endParaRPr lang="en-US" altLang="zh-Hans" sz="141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lvl="1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Ø"/>
            </a:pPr>
            <a:r>
              <a:rPr lang="en-US" altLang="zh-Hans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lang</a:t>
            </a:r>
            <a:endParaRPr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02195" lvl="2" indent="-285750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标准库集成基准测试</a:t>
            </a: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，编译工具链支持（</a:t>
            </a:r>
            <a:r>
              <a:rPr lang="en-US" altLang="zh-Han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</a:t>
            </a: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 </a:t>
            </a:r>
            <a:r>
              <a:rPr lang="en-US" altLang="zh-Han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test</a:t>
            </a: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 </a:t>
            </a:r>
            <a:r>
              <a:rPr lang="en-US" altLang="zh-Han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-bench</a:t>
            </a: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）</a:t>
            </a:r>
            <a:endParaRPr lang="en-US" altLang="zh-Hans" sz="141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  <a:p>
            <a:pPr marL="1102195" lvl="2" indent="-285750">
              <a:lnSpc>
                <a:spcPct val="150000"/>
              </a:lnSpc>
              <a:buClr>
                <a:schemeClr val="accent1"/>
              </a:buClr>
            </a:pP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工具链支持</a:t>
            </a:r>
            <a:r>
              <a:rPr lang="en-US" altLang="zh-Han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go</a:t>
            </a:r>
            <a:r>
              <a:rPr lang="zh-Hans" altLang="en-US" sz="141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 </a:t>
            </a:r>
            <a:r>
              <a:rPr lang="en-US" altLang="zh-Hans" sz="1410" b="1" dirty="0" err="1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pprof</a:t>
            </a:r>
            <a:r>
              <a:rPr lang="zh-Hans" altLang="en-US" sz="141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  <a:cs typeface="微软雅黑"/>
              </a:rPr>
              <a:t>进行性能调优，无需外部依赖</a:t>
            </a:r>
            <a:endParaRPr lang="en-US" altLang="zh-Hans" sz="141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  <a:cs typeface="微软雅黑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DCEEF74-1A14-554B-B95E-8B35AE07A223}"/>
              </a:ext>
            </a:extLst>
          </p:cNvPr>
          <p:cNvSpPr txBox="1"/>
          <p:nvPr/>
        </p:nvSpPr>
        <p:spPr>
          <a:xfrm>
            <a:off x="6790999" y="4900774"/>
            <a:ext cx="4856804" cy="1355756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Wingdings" pitchFamily="2" charset="2"/>
              <a:buChar char="u"/>
            </a:pPr>
            <a:r>
              <a:rPr kumimoji="1"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Web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的压力测试同样属于</a:t>
            </a:r>
            <a:r>
              <a:rPr kumimoji="1"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语言无关性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如果现有工具足以支撑针对</a:t>
            </a:r>
            <a:r>
              <a:rPr kumimoji="1"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的压测，则对</a:t>
            </a:r>
            <a:r>
              <a:rPr kumimoji="1"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QA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无影响</a:t>
            </a:r>
            <a:endParaRPr kumimoji="1" lang="en-US" altLang="zh-Hans" sz="14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285750" indent="-285750" algn="l">
              <a:lnSpc>
                <a:spcPct val="150000"/>
              </a:lnSpc>
              <a:buFont typeface="Wingdings" pitchFamily="2" charset="2"/>
              <a:buChar char="u"/>
            </a:pPr>
            <a:r>
              <a:rPr kumimoji="1"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负载能力为</a:t>
            </a:r>
            <a:r>
              <a:rPr kumimoji="1" lang="en-US" altLang="zh-Han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PHP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服务</a:t>
            </a:r>
            <a:r>
              <a:rPr kumimoji="1" lang="en-US" altLang="zh-Han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5~8</a:t>
            </a:r>
            <a:r>
              <a:rPr kumimoji="1" lang="zh-Hans" altLang="en-US" sz="1400" b="1" dirty="0">
                <a:solidFill>
                  <a:srgbClr val="FF5A50"/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倍</a:t>
            </a:r>
            <a:r>
              <a:rPr kumimoji="1" lang="zh-Hans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，若压测负载上限建立在节省压力机的前提下，建议改造压测工具</a:t>
            </a:r>
            <a:endParaRPr kumimoji="1" lang="zh-CN" alt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35275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目前存在问题</a:t>
            </a:r>
            <a:endParaRPr lang="zh-CN" altLang="en-US" sz="1800" b="0" dirty="0">
              <a:latin typeface="Microsoft YaHei" panose="020B0503020204020204" pitchFamily="34" charset="-122"/>
              <a:ea typeface="Microsoft YaHei" panose="020B0503020204020204" pitchFamily="34" charset="-122"/>
              <a:sym typeface="Microsoft YaHei"/>
            </a:endParaRPr>
          </a:p>
        </p:txBody>
      </p:sp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D93E2D06-D450-6D4A-BF90-DD93EC7C1D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9423805"/>
              </p:ext>
            </p:extLst>
          </p:nvPr>
        </p:nvGraphicFramePr>
        <p:xfrm>
          <a:off x="-89173" y="1741150"/>
          <a:ext cx="6390526" cy="3599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2" name="组合 21">
            <a:extLst>
              <a:ext uri="{FF2B5EF4-FFF2-40B4-BE49-F238E27FC236}">
                <a16:creationId xmlns:a16="http://schemas.microsoft.com/office/drawing/2014/main" id="{64952942-21EA-BC44-AA6A-263F6AA34BF1}"/>
              </a:ext>
            </a:extLst>
          </p:cNvPr>
          <p:cNvGrpSpPr/>
          <p:nvPr/>
        </p:nvGrpSpPr>
        <p:grpSpPr>
          <a:xfrm>
            <a:off x="6301353" y="3090298"/>
            <a:ext cx="991154" cy="618673"/>
            <a:chOff x="5634614" y="1694820"/>
            <a:chExt cx="1038330" cy="648120"/>
          </a:xfrm>
        </p:grpSpPr>
        <p:sp>
          <p:nvSpPr>
            <p:cNvPr id="23" name="右箭头 22">
              <a:extLst>
                <a:ext uri="{FF2B5EF4-FFF2-40B4-BE49-F238E27FC236}">
                  <a16:creationId xmlns:a16="http://schemas.microsoft.com/office/drawing/2014/main" id="{66049CCC-3ABE-0143-8A77-A526E7487E3C}"/>
                </a:ext>
              </a:extLst>
            </p:cNvPr>
            <p:cNvSpPr/>
            <p:nvPr/>
          </p:nvSpPr>
          <p:spPr>
            <a:xfrm>
              <a:off x="5634614" y="1910861"/>
              <a:ext cx="1038330" cy="432079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 dirty="0">
                <a:solidFill>
                  <a:schemeClr val="tx2">
                    <a:lumMod val="7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31D78058-2B8F-5F4F-9BC1-2488F9420C72}"/>
                </a:ext>
              </a:extLst>
            </p:cNvPr>
            <p:cNvSpPr txBox="1"/>
            <p:nvPr/>
          </p:nvSpPr>
          <p:spPr>
            <a:xfrm>
              <a:off x="5711456" y="1694820"/>
              <a:ext cx="747320" cy="276999"/>
            </a:xfrm>
            <a:prstGeom prst="rect">
              <a:avLst/>
            </a:prstGeom>
            <a:noFill/>
            <a:ln w="9525">
              <a:noFill/>
              <a:prstDash val="sysDash"/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l"/>
              <a:r>
                <a:rPr kumimoji="1" lang="en-US" altLang="zh-Hans" sz="1200" b="1" dirty="0">
                  <a:solidFill>
                    <a:schemeClr val="tx2">
                      <a:lumMod val="75000"/>
                    </a:schemeClr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QA</a:t>
              </a:r>
              <a:r>
                <a:rPr kumimoji="1" lang="zh-Hans" altLang="en-US" sz="1200" b="1" dirty="0">
                  <a:solidFill>
                    <a:schemeClr val="tx2">
                      <a:lumMod val="75000"/>
                    </a:schemeClr>
                  </a:solidFill>
                  <a:latin typeface="Lantinghei SC Demibold" panose="02000000000000000000" pitchFamily="2" charset="-122"/>
                  <a:ea typeface="Lantinghei SC Demibold" panose="02000000000000000000" pitchFamily="2" charset="-122"/>
                </a:rPr>
                <a:t>影响</a:t>
              </a:r>
              <a:endParaRPr kumimoji="1" lang="zh-CN" altLang="en-US" sz="1200" b="1" dirty="0">
                <a:solidFill>
                  <a:schemeClr val="tx2">
                    <a:lumMod val="7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2FF201EF-DA83-1C48-8F90-1929EA2DAF37}"/>
              </a:ext>
            </a:extLst>
          </p:cNvPr>
          <p:cNvSpPr txBox="1"/>
          <p:nvPr/>
        </p:nvSpPr>
        <p:spPr>
          <a:xfrm>
            <a:off x="7479584" y="2023313"/>
            <a:ext cx="3600000" cy="664349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高学习成本</a:t>
            </a:r>
            <a:endParaRPr kumimoji="1" lang="en-US" altLang="zh-Han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  <a:p>
            <a:pPr marL="285750" indent="-285750" algn="l">
              <a:lnSpc>
                <a:spcPct val="150000"/>
              </a:lnSpc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非</a:t>
            </a:r>
            <a:r>
              <a:rPr kumimoji="1" lang="en-US" altLang="zh-Han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Http</a:t>
            </a: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请求构造难度大</a:t>
            </a:r>
            <a:endParaRPr kumimoji="1" lang="zh-CN" altLang="en-U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373334F1-1C1E-3048-8A26-E9AB34899F9E}"/>
              </a:ext>
            </a:extLst>
          </p:cNvPr>
          <p:cNvSpPr txBox="1"/>
          <p:nvPr/>
        </p:nvSpPr>
        <p:spPr>
          <a:xfrm>
            <a:off x="7479584" y="3170572"/>
            <a:ext cx="3600000" cy="664349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集成测试</a:t>
            </a:r>
            <a:r>
              <a:rPr kumimoji="1" lang="en-US" altLang="zh-Han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&amp;</a:t>
            </a: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系统测试成本较大</a:t>
            </a:r>
            <a:endParaRPr kumimoji="1" lang="en-US" altLang="zh-Han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  <a:p>
            <a:pPr marL="285750" indent="-285750" algn="l">
              <a:lnSpc>
                <a:spcPct val="150000"/>
              </a:lnSpc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难以实现全链路级压测</a:t>
            </a:r>
            <a:endParaRPr kumimoji="1" lang="zh-CN" altLang="en-U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5633AF3F-14CF-F84C-BFBA-0850A5E69FFC}"/>
              </a:ext>
            </a:extLst>
          </p:cNvPr>
          <p:cNvSpPr txBox="1"/>
          <p:nvPr/>
        </p:nvSpPr>
        <p:spPr>
          <a:xfrm>
            <a:off x="7479584" y="4287009"/>
            <a:ext cx="3600000" cy="954107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线下测试无稳定环境</a:t>
            </a:r>
            <a:endParaRPr kumimoji="1" lang="en-US" altLang="zh-Han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  <a:p>
            <a:pPr marL="285750" indent="-285750" algn="l">
              <a:lnSpc>
                <a:spcPct val="150000"/>
              </a:lnSpc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缺少分级发布手段</a:t>
            </a:r>
            <a:endParaRPr kumimoji="1" lang="en-US" altLang="zh-Han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  <a:p>
            <a:pPr marL="285750" indent="-285750" algn="l">
              <a:buFont typeface="Wingdings" pitchFamily="2" charset="2"/>
              <a:buChar char="Ø"/>
            </a:pPr>
            <a:r>
              <a:rPr kumimoji="1" lang="zh-Hans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通过日志定位线上问题难度增加</a:t>
            </a:r>
            <a:endParaRPr kumimoji="1" lang="zh-CN" altLang="en-US" sz="1600" dirty="0">
              <a:solidFill>
                <a:schemeClr val="tx1">
                  <a:lumMod val="85000"/>
                  <a:lumOff val="1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25526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标题 1">
            <a:extLst>
              <a:ext uri="{FF2B5EF4-FFF2-40B4-BE49-F238E27FC236}">
                <a16:creationId xmlns:a16="http://schemas.microsoft.com/office/drawing/2014/main" id="{FB96A520-0624-A747-9A53-E1ED9E46B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28" y="24230"/>
            <a:ext cx="11778951" cy="528651"/>
          </a:xfrm>
        </p:spPr>
        <p:txBody>
          <a:bodyPr/>
          <a:lstStyle/>
          <a:p>
            <a:pPr hangingPunct="0"/>
            <a:r>
              <a:rPr lang="zh-Hans" altLang="en-US" sz="2400" b="0" dirty="0">
                <a:solidFill>
                  <a:srgbClr val="FFFF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/>
              </a:rPr>
              <a:t>总结</a:t>
            </a:r>
            <a:endParaRPr lang="zh-CN" altLang="en-US" sz="1800" b="0" dirty="0">
              <a:latin typeface="Microsoft YaHei" panose="020B0503020204020204" pitchFamily="34" charset="-122"/>
              <a:ea typeface="Microsoft YaHei" panose="020B0503020204020204" pitchFamily="34" charset="-122"/>
              <a:sym typeface="Microsoft YaHei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E3EE16D5-7436-EA4F-9B3E-80716B5C2D95}"/>
              </a:ext>
            </a:extLst>
          </p:cNvPr>
          <p:cNvSpPr txBox="1"/>
          <p:nvPr/>
        </p:nvSpPr>
        <p:spPr>
          <a:xfrm>
            <a:off x="2360492" y="1945204"/>
            <a:ext cx="7924166" cy="2982804"/>
          </a:xfrm>
          <a:prstGeom prst="rect">
            <a:avLst/>
          </a:prstGeom>
          <a:noFill/>
          <a:ln w="9525">
            <a:noFill/>
            <a:prstDash val="sysDash"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新语言具有一定学习成本，且</a:t>
            </a:r>
            <a:r>
              <a:rPr kumimoji="1" lang="en-US" altLang="zh-Hans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lang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相对</a:t>
            </a:r>
            <a:r>
              <a:rPr kumimoji="1" lang="en-US" altLang="zh-Han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PHP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需要了解其并发模型、内存分配机制等底层细节，对</a:t>
            </a:r>
            <a:r>
              <a:rPr kumimoji="1" lang="en-US" altLang="zh-Han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QA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而言是一个加深技术能力的契机</a:t>
            </a:r>
            <a:endParaRPr kumimoji="1"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kumimoji="1" lang="en-US" altLang="zh-Hans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Golang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便捷的单测工具链，如果能够促使</a:t>
            </a:r>
            <a:r>
              <a:rPr kumimoji="1" lang="en-US" altLang="zh-Han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RD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完善单测会极大提升</a:t>
            </a:r>
            <a:r>
              <a:rPr kumimoji="1" lang="en-US" altLang="zh-Han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QA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测试效率</a:t>
            </a:r>
            <a:endParaRPr kumimoji="1"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现有工具和测试方案足以支撑日常业务测试，影响较小</a:t>
            </a:r>
            <a:endParaRPr kumimoji="1"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向微服务架构转变对系统测试和集成测试影响较大</a:t>
            </a:r>
            <a:endParaRPr kumimoji="1" lang="en-US" altLang="zh-Han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  <a:p>
            <a:pPr marL="342900" indent="-342900" algn="l">
              <a:lnSpc>
                <a:spcPct val="200000"/>
              </a:lnSpc>
              <a:buFont typeface="+mj-lt"/>
              <a:buAutoNum type="arabicPeriod"/>
            </a:pP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稳定线下环境和</a:t>
            </a:r>
            <a:r>
              <a:rPr kumimoji="1" lang="en-US" altLang="zh-Han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DevOps</a:t>
            </a:r>
            <a:r>
              <a:rPr kumimoji="1" lang="zh-Hans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手段缺失一定程度影响测试效率</a:t>
            </a:r>
            <a:endParaRPr kumimoji="1" lang="zh-CN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87691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F90EF0D-C16A-A349-BC34-E89B589CD4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9529" y="3165189"/>
            <a:ext cx="2294300" cy="759540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kumimoji="1" lang="en-US" altLang="zh-CN" sz="40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Thank</a:t>
            </a:r>
            <a:r>
              <a:rPr kumimoji="1" lang="en-US" altLang="zh-Hans" sz="4000" b="1" dirty="0"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s</a:t>
            </a:r>
            <a:endParaRPr kumimoji="1" lang="zh-CN" altLang="en-US" sz="4000" b="1" dirty="0"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0079223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10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 w="9525">
          <a:solidFill>
            <a:schemeClr val="accent1"/>
          </a:solidFill>
          <a:prstDash val="sysDash"/>
        </a:ln>
        <a:effectLst/>
      </a:spPr>
      <a:bodyPr wrap="square" rtlCol="0">
        <a:spAutoFit/>
      </a:bodyPr>
      <a:lstStyle>
        <a:defPPr algn="l">
          <a:defRPr sz="1400" dirty="0" smtClean="0">
            <a:solidFill>
              <a:srgbClr val="FF0000"/>
            </a:solidFill>
            <a:latin typeface="+mn-ea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/>
</a:theme>
</file>

<file path=ppt/theme/theme8.xml><?xml version="1.0" encoding="utf-8"?>
<a:theme xmlns:a="http://schemas.openxmlformats.org/drawingml/2006/main" name="8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826</TotalTime>
  <Words>1018</Words>
  <Application>Microsoft Macintosh PowerPoint</Application>
  <PresentationFormat>宽屏</PresentationFormat>
  <Paragraphs>162</Paragraphs>
  <Slides>9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9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9" baseType="lpstr">
      <vt:lpstr>黑体</vt:lpstr>
      <vt:lpstr>宋体</vt:lpstr>
      <vt:lpstr>微软雅黑</vt:lpstr>
      <vt:lpstr>微软雅黑</vt:lpstr>
      <vt:lpstr>Lantinghei SC Demibold</vt:lpstr>
      <vt:lpstr>Sarasa UI SC</vt:lpstr>
      <vt:lpstr>Arial</vt:lpstr>
      <vt:lpstr>Calibri</vt:lpstr>
      <vt:lpstr>Verdana</vt:lpstr>
      <vt:lpstr>Wingdings</vt:lpstr>
      <vt:lpstr>5_自定义设计方案</vt:lpstr>
      <vt:lpstr>自定义设计方案</vt:lpstr>
      <vt:lpstr>7_自定义设计方案</vt:lpstr>
      <vt:lpstr>9_自定义设计方案</vt:lpstr>
      <vt:lpstr>12_自定义设计方案</vt:lpstr>
      <vt:lpstr>10_自定义设计方案</vt:lpstr>
      <vt:lpstr>23_自定义设计方案</vt:lpstr>
      <vt:lpstr>8_自定义设计方案</vt:lpstr>
      <vt:lpstr>6_自定义设计方案</vt:lpstr>
      <vt:lpstr>think-cell Slide</vt:lpstr>
      <vt:lpstr>PowerPoint 演示文稿</vt:lpstr>
      <vt:lpstr>PHP&amp;Golang对比</vt:lpstr>
      <vt:lpstr>公司使用情况&amp;贴吧规划</vt:lpstr>
      <vt:lpstr>编译&amp;环境部署差异</vt:lpstr>
      <vt:lpstr>测试方案&amp;测试工具</vt:lpstr>
      <vt:lpstr>测试方案&amp;测试工具</vt:lpstr>
      <vt:lpstr>目前存在问题</vt:lpstr>
      <vt:lpstr>总结</vt:lpstr>
      <vt:lpstr>PowerPoint 演示文稿</vt:lpstr>
    </vt:vector>
  </TitlesOfParts>
  <Company>Microsoft</Company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生态建设</dc:title>
  <dc:creator>guolangbo</dc:creator>
  <cp:lastModifiedBy>Microsoft Office 用户</cp:lastModifiedBy>
  <cp:revision>8654</cp:revision>
  <cp:lastPrinted>2019-01-29T08:05:49Z</cp:lastPrinted>
  <dcterms:created xsi:type="dcterms:W3CDTF">2016-02-04T14:58:40Z</dcterms:created>
  <dcterms:modified xsi:type="dcterms:W3CDTF">2019-10-30T06:5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4eed1396-652e-48af-a096-58850838b021">
    <vt:lpwstr>b731afe6-Wmh1poiD6wfUIu3Y3GPG3DJXMnRL+DkLHmk23A==-500ddfd78926</vt:lpwstr>
  </property>
</Properties>
</file>